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3968" r:id="rId5"/>
    <p:sldId id="3982" r:id="rId6"/>
    <p:sldId id="476" r:id="rId7"/>
    <p:sldId id="473" r:id="rId8"/>
    <p:sldId id="3983" r:id="rId9"/>
    <p:sldId id="3984" r:id="rId10"/>
    <p:sldId id="3977" r:id="rId11"/>
    <p:sldId id="3978" r:id="rId12"/>
    <p:sldId id="3979" r:id="rId13"/>
    <p:sldId id="397" r:id="rId14"/>
  </p:sldIdLst>
  <p:sldSz cx="12192000" cy="6858000"/>
  <p:notesSz cx="6858000" cy="9144000"/>
  <p:custDataLst>
    <p:tags r:id="rId17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57">
          <p15:clr>
            <a:srgbClr val="A4A3A4"/>
          </p15:clr>
        </p15:guide>
        <p15:guide id="12" orient="horz" pos="3929" userDrawn="1">
          <p15:clr>
            <a:srgbClr val="A4A3A4"/>
          </p15:clr>
        </p15:guide>
        <p15:guide id="29" pos="7423" userDrawn="1">
          <p15:clr>
            <a:srgbClr val="A4A3A4"/>
          </p15:clr>
        </p15:guide>
        <p15:guide id="42" orient="horz" pos="2160" userDrawn="1">
          <p15:clr>
            <a:srgbClr val="A4A3A4"/>
          </p15:clr>
        </p15:guide>
        <p15:guide id="44" orient="horz" pos="1026" userDrawn="1">
          <p15:clr>
            <a:srgbClr val="A4A3A4"/>
          </p15:clr>
        </p15:guide>
        <p15:guide id="47" pos="3840" userDrawn="1">
          <p15:clr>
            <a:srgbClr val="A4A3A4"/>
          </p15:clr>
        </p15:guide>
        <p15:guide id="48" orient="horz" pos="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uest User" initials="GU" lastIdx="23" clrIdx="6"/>
  <p:cmAuthor id="1" name="Taimi Renvall" initials="TR" lastIdx="1" clrIdx="0"/>
  <p:cmAuthor id="8" name="Timo Utterström" initials="TU" lastIdx="4" clrIdx="7">
    <p:extLst>
      <p:ext uri="{19B8F6BF-5375-455C-9EA6-DF929625EA0E}">
        <p15:presenceInfo xmlns:p15="http://schemas.microsoft.com/office/powerpoint/2012/main" userId="7535853697634948" providerId="Windows Live"/>
      </p:ext>
    </p:extLst>
  </p:cmAuthor>
  <p:cmAuthor id="2" name="Buesink Robert" initials="BR" lastIdx="2" clrIdx="1"/>
  <p:cmAuthor id="3" name="Salmelin Sohvi" initials="SS" lastIdx="115" clrIdx="2"/>
  <p:cmAuthor id="4" name="Boxberg Anja" initials="BA" lastIdx="16" clrIdx="3"/>
  <p:cmAuthor id="5" name="Tirronen Hannele" initials="TH" lastIdx="4" clrIdx="4"/>
  <p:cmAuthor id="6" name="Avanidis Sabrina" initials="AS" lastIdx="15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9194"/>
    <a:srgbClr val="FFFFFF"/>
    <a:srgbClr val="FEFEFE"/>
    <a:srgbClr val="004987"/>
    <a:srgbClr val="3B4245"/>
    <a:srgbClr val="0071B9"/>
    <a:srgbClr val="F2F8F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83" autoAdjust="0"/>
    <p:restoredTop sz="82960" autoAdjust="0"/>
  </p:normalViewPr>
  <p:slideViewPr>
    <p:cSldViewPr snapToGrid="0">
      <p:cViewPr varScale="1">
        <p:scale>
          <a:sx n="61" d="100"/>
          <a:sy n="61" d="100"/>
        </p:scale>
        <p:origin x="808" y="60"/>
      </p:cViewPr>
      <p:guideLst>
        <p:guide pos="257"/>
        <p:guide orient="horz" pos="3929"/>
        <p:guide pos="7423"/>
        <p:guide orient="horz" pos="2160"/>
        <p:guide orient="horz" pos="1026"/>
        <p:guide pos="3840"/>
        <p:guide orient="horz" pos="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D5E8F-3D43-46A9-A8D5-A2EF1DA2C026}" type="datetimeFigureOut">
              <a:rPr lang="en-US" smtClean="0"/>
              <a:t>4/2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9468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02EA2-FEFA-486E-AAE4-7759D0C05B33}" type="datetimeFigureOut">
              <a:rPr lang="en-US" smtClean="0"/>
              <a:t>4/2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D458EB-A8C3-4201-9431-2D687005C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766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17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1012825"/>
            <a:ext cx="6453188" cy="3630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7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523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750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458EB-A8C3-4201-9431-2D687005C31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58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4220928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F5B6F40-2423-4ACC-87FC-64D87958FDA2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62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DE1F0BD-BBC2-4AD2-8A3D-C4D7AF1A4749}" type="datetime3">
              <a:rPr lang="en-US" smtClean="0"/>
              <a:t>27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800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37D2608-D8A7-4639-98B7-57AF1A60DCC3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696" y="1268120"/>
            <a:ext cx="3240687" cy="32407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24" tIns="233930" rIns="251924" bIns="233930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2077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469" y="1628398"/>
            <a:ext cx="5039000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757"/>
            <a:ext cx="5039001" cy="460853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2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90CBB-F6F3-4BF7-B807-6C34DD733BB3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40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EE2C1AD-B041-4DDF-9E75-97269A8DEB77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628396"/>
            <a:ext cx="5039000" cy="460889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628398"/>
            <a:ext cx="5039001" cy="460889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93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7C10E4-CB28-45AA-857A-B89C11A28B15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8"/>
            <a:ext cx="5039000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5732" y="1628398"/>
            <a:ext cx="5039001" cy="360164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469" y="1989132"/>
            <a:ext cx="5039000" cy="424815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5732" y="1991308"/>
            <a:ext cx="5039001" cy="4245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963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5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04A42C-929C-41AD-9094-1D4AD833C2D2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113730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9" y="4940744"/>
            <a:ext cx="113730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16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585031-E461-436A-8CF2-3A1DB59EB3E2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425" y="1628399"/>
            <a:ext cx="554210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554210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240425" y="1989133"/>
            <a:ext cx="554210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6240425" y="4940744"/>
            <a:ext cx="554210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39982" y="5084847"/>
            <a:ext cx="5542550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636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D469005-1D14-4A50-B8FD-D417B5F740E2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3670776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296218" y="1989133"/>
            <a:ext cx="3599563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940744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940744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8111755" y="1989133"/>
            <a:ext cx="3670777" cy="28077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940744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5084847"/>
            <a:ext cx="3670776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5084847"/>
            <a:ext cx="3670777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5084847"/>
            <a:ext cx="3599563" cy="11509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17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0011241-D06B-4E59-8BDA-E17EC98FED2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3670776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6220" y="1628399"/>
            <a:ext cx="3599561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468" y="4095917"/>
            <a:ext cx="3670776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296218" y="4095917"/>
            <a:ext cx="35995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8111755" y="1628399"/>
            <a:ext cx="3670778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8111755" y="4095917"/>
            <a:ext cx="3670777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468" y="4210204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8111755" y="4210204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4296218" y="4210204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0365D0A-029D-4E42-979F-685155160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7988" y="2132327"/>
            <a:ext cx="3670776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0A72B3-A53C-48D9-A77E-F8FE08C7A18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0275" y="2132327"/>
            <a:ext cx="3670777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74A6F91-8683-456E-A442-55D0AF81C8A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4738" y="2132327"/>
            <a:ext cx="3599563" cy="187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046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40CF504-A842-4EF3-8576-912B27EFFAC5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69" y="4213578"/>
            <a:ext cx="10365263" cy="130170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4"/>
            <a:ext cx="10365264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4617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629207-A201-4F79-A842-41E0D5CE26EE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70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8340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288341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1"/>
          </p:nvPr>
        </p:nvSpPr>
        <p:spPr>
          <a:xfrm>
            <a:off x="6167992" y="1628399"/>
            <a:ext cx="273488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9046862" y="1628399"/>
            <a:ext cx="2735669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Chart Placeholder 4"/>
          <p:cNvSpPr>
            <a:spLocks noGrp="1"/>
          </p:cNvSpPr>
          <p:nvPr>
            <p:ph type="chart" sz="quarter" idx="23"/>
          </p:nvPr>
        </p:nvSpPr>
        <p:spPr>
          <a:xfrm>
            <a:off x="6167991" y="1989133"/>
            <a:ext cx="2734890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2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9046863" y="1989133"/>
            <a:ext cx="2735669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55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50FFB5-C110-4CBE-B2CC-05CA8CD296A5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11373062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11373063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049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7073C5-59A6-47F1-965B-465BF94853ED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469" y="1628399"/>
            <a:ext cx="8710164" cy="36073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468" y="1989133"/>
            <a:ext cx="8710165" cy="424671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9263615" y="1628399"/>
            <a:ext cx="0" cy="4607446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9407597" y="1628399"/>
            <a:ext cx="2374935" cy="46074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Tx/>
              <a:buNone/>
              <a:defRPr sz="1800"/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/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/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/>
            </a:lvl5pPr>
            <a:lvl6pPr marL="1345796" indent="-274556">
              <a:defRPr/>
            </a:lvl6pPr>
            <a:lvl7pPr marL="1612416" indent="-266620">
              <a:defRPr/>
            </a:lvl7pPr>
            <a:lvl8pPr marL="1877450" indent="-265033">
              <a:defRPr/>
            </a:lvl8pPr>
            <a:lvl9pPr marL="2152004" indent="-274556"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409468" y="6289185"/>
            <a:ext cx="453532" cy="91543"/>
          </a:xfrm>
          <a:prstGeom prst="rect">
            <a:avLst/>
          </a:prstGeom>
        </p:spPr>
        <p:txBody>
          <a:bodyPr wrap="none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700" baseline="0">
                <a:solidFill>
                  <a:schemeClr val="bg2"/>
                </a:solidFill>
              </a:defRPr>
            </a:lvl1pPr>
            <a:lvl2pPr marL="266620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2pPr>
            <a:lvl3pPr marL="53958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3pPr>
            <a:lvl4pPr marL="806208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4pPr>
            <a:lvl5pPr marL="1071241" indent="0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04813"/>
            <a:ext cx="10367962" cy="50323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90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F3A8C-AFE0-4785-9795-739DE3F403C4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1886" y="1628398"/>
            <a:ext cx="5160114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34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3EF4F-FA75-475B-9E1F-ED8C19713568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4359" y="1628398"/>
            <a:ext cx="863817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987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D253A-8693-4A39-B197-62E18215606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08250" y="1628398"/>
            <a:ext cx="2783750" cy="46074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86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B8469-CA70-42E2-A054-4ABADF3C7581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8638172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408250" y="1628398"/>
            <a:ext cx="2374282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5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 1/3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ADFD0-0870-4120-802A-F1FD6A2C08F7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741432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83469" y="1628396"/>
            <a:ext cx="3599063" cy="971071"/>
          </a:xfrm>
          <a:prstGeom prst="rect">
            <a:avLst/>
          </a:prstGeom>
          <a:solidFill>
            <a:srgbClr val="BFDCEE"/>
          </a:solidFill>
        </p:spPr>
        <p:txBody>
          <a:bodyPr lIns="179946" tIns="107968" rIns="179946" bIns="107968">
            <a:spAutoFit/>
          </a:bodyPr>
          <a:lstStyle>
            <a:lvl1pPr marL="0" indent="0">
              <a:spcBef>
                <a:spcPts val="400"/>
              </a:spcBef>
              <a:buNone/>
              <a:tabLst/>
              <a:defRPr>
                <a:solidFill>
                  <a:schemeClr val="tx2"/>
                </a:solidFill>
              </a:defRPr>
            </a:lvl1pPr>
            <a:lvl2pPr marL="266620" indent="-266620">
              <a:spcBef>
                <a:spcPts val="400"/>
              </a:spcBef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2pPr>
            <a:lvl3pPr marL="539588" indent="0">
              <a:spcBef>
                <a:spcPts val="400"/>
              </a:spcBef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Add Highligh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17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5470507" cy="50400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5470506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4ACA39-5D8C-4FC2-A739-EBA0FF3C201D}" type="datetime3">
              <a:rPr lang="en-US" smtClean="0"/>
              <a:t>27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7"/>
          </p:nvPr>
        </p:nvSpPr>
        <p:spPr>
          <a:xfrm>
            <a:off x="409469" y="909233"/>
            <a:ext cx="5470508" cy="4319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FD85BA2-0B85-4D41-A2E3-C57C2891402E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3927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62461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1FF7504-C0C2-4C55-AE88-21C1C3E90DBD}" type="datetime3">
              <a:rPr lang="en-US" smtClean="0"/>
              <a:t>27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6C74109-93BB-A64C-AAF4-72DA085AB30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1033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326CE1-070D-4ABA-9AE6-73CD3680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326CE1-070D-4ABA-9AE6-73CD3680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169EB58-B25D-465D-9E97-A6EF969BEE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448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7446" y="0"/>
            <a:ext cx="386455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7558304" cy="863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9" y="1628398"/>
            <a:ext cx="7558303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B74BB9-14A4-41F2-AB0C-A64CB41F4581}" type="datetime3">
              <a:rPr lang="en-US" smtClean="0"/>
              <a:t>27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88AB582-4130-9442-B78A-07B85B5C0E1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3988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9BB18-B5CF-4E62-B823-5C79563FA745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700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9" y="2635708"/>
            <a:ext cx="11373063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E0CA90-23EE-4CCB-AAFA-810E75E841AD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74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9468" y="2635708"/>
            <a:ext cx="11373064" cy="1727840"/>
          </a:xfrm>
          <a:prstGeom prst="rect">
            <a:avLst/>
          </a:prstGeom>
        </p:spPr>
        <p:txBody>
          <a:bodyPr anchor="ctr" anchorCtr="0"/>
          <a:lstStyle>
            <a:lvl1pPr algn="ctr">
              <a:defRPr sz="4600" cap="none" spc="-5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E9306D4-FC64-4C02-A6F0-643898A64109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0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8A6D4-FF24-4330-9A1F-EF0D3CD154A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669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4E3D5A1-B552-4455-9F3C-1214A0B1C811}" type="datetime3">
              <a:rPr lang="en-US" smtClean="0"/>
              <a:t>27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9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49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D180835-D24B-4CD3-BC4B-7E9F0AAE3EF1}" type="datetime1">
              <a:rPr lang="fi-FI" smtClean="0"/>
              <a:t>27.4.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1817" y="5731961"/>
            <a:ext cx="3640452" cy="503883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99188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/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6CA6FBA-CF39-4EF0-A378-0ADA28D0E831}" type="datetime3">
              <a:rPr lang="en-US" smtClean="0"/>
              <a:t>27 April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hank you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9468" y="3932953"/>
            <a:ext cx="1007738" cy="359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6" rIns="91413" bIns="45706" rtlCol="0" anchor="ctr"/>
          <a:lstStyle/>
          <a:p>
            <a:pPr algn="ctr"/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09469" y="4364913"/>
            <a:ext cx="10365264" cy="1870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aseline="0">
                <a:solidFill>
                  <a:schemeClr val="tx2"/>
                </a:solidFill>
              </a:defRPr>
            </a:lvl1pPr>
            <a:lvl2pPr marL="266620" indent="-26662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3pPr>
            <a:lvl4pPr marL="806208" indent="-266620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4pPr>
            <a:lvl5pPr marL="1071242" indent="-265033">
              <a:lnSpc>
                <a:spcPct val="100000"/>
              </a:lnSpc>
              <a:spcBef>
                <a:spcPts val="400"/>
              </a:spcBef>
              <a:defRPr>
                <a:solidFill>
                  <a:schemeClr val="tx2"/>
                </a:solidFill>
              </a:defRPr>
            </a:lvl5pPr>
            <a:lvl6pPr marL="1345796" indent="-274556">
              <a:defRPr>
                <a:solidFill>
                  <a:schemeClr val="tx2"/>
                </a:solidFill>
              </a:defRPr>
            </a:lvl6pPr>
            <a:lvl7pPr marL="1612416" indent="-266620">
              <a:defRPr>
                <a:solidFill>
                  <a:schemeClr val="tx2"/>
                </a:solidFill>
              </a:defRPr>
            </a:lvl7pPr>
            <a:lvl8pPr marL="1877450" indent="-265033">
              <a:defRPr>
                <a:solidFill>
                  <a:schemeClr val="tx2"/>
                </a:solidFill>
              </a:defRPr>
            </a:lvl8pPr>
            <a:lvl9pPr marL="2152004" indent="-274556"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More details</a:t>
            </a:r>
          </a:p>
        </p:txBody>
      </p:sp>
    </p:spTree>
    <p:extLst>
      <p:ext uri="{BB962C8B-B14F-4D97-AF65-F5344CB8AC3E}">
        <p14:creationId xmlns:p14="http://schemas.microsoft.com/office/powerpoint/2010/main" val="36683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612AB2A-277F-48A6-8EFC-4A1539D09CCA}" type="datetime3">
              <a:rPr lang="en-US" smtClean="0"/>
              <a:pPr/>
              <a:t>27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412638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7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A181FEF-A877-CF46-89F2-47543F60EF7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13613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10365265" cy="460744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C445A-5064-4FBE-9715-13D6CB211BFF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468" y="909233"/>
            <a:ext cx="10364951" cy="4319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469" y="404720"/>
            <a:ext cx="10365264" cy="504514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94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2714954-CE12-48CE-A073-2A37C0BBBE35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648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09469" y="404813"/>
            <a:ext cx="5254472" cy="215797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0" u="none" cap="all" spc="0" baseline="0">
                <a:solidFill>
                  <a:schemeClr val="tx2"/>
                </a:solidFill>
                <a:uFillTx/>
              </a:defRPr>
            </a:lvl1pPr>
            <a:lvl2pPr marL="609539" indent="0">
              <a:buNone/>
              <a:defRPr sz="2700" b="1"/>
            </a:lvl2pPr>
            <a:lvl3pPr marL="1219078" indent="0">
              <a:buNone/>
              <a:defRPr sz="2400" b="1"/>
            </a:lvl3pPr>
            <a:lvl4pPr marL="1828617" indent="0">
              <a:buNone/>
              <a:defRPr sz="2100" b="1"/>
            </a:lvl4pPr>
            <a:lvl5pPr marL="2438156" indent="0">
              <a:buNone/>
              <a:defRPr sz="2100" b="1"/>
            </a:lvl5pPr>
            <a:lvl6pPr marL="3047695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2" indent="0">
              <a:buNone/>
              <a:defRPr sz="21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8243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tom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5F6787B-76F2-4DBB-B018-87FEEBFF4E97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5229225"/>
            <a:ext cx="12192000" cy="1628775"/>
          </a:xfrm>
          <a:solidFill>
            <a:srgbClr val="FFFFFF">
              <a:alpha val="95000"/>
            </a:srgbClr>
          </a:solidFill>
        </p:spPr>
        <p:txBody>
          <a:bodyPr lIns="413876" tIns="396000" rIns="395881" bIns="360000" anchor="t" anchorCtr="0"/>
          <a:lstStyle>
            <a:lvl1pPr>
              <a:defRPr sz="28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5661310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3728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CF8607-4657-44B6-A6C9-08A1A861A82E}" type="datetime3">
              <a:rPr lang="en-US" smtClean="0"/>
              <a:t>27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2306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30E1D5-26EE-42BF-9532-133BC2738847}" type="datetime3">
              <a:rPr lang="en-US" smtClean="0"/>
              <a:t>27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26283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12EACBB-11D6-45A6-BABF-4B2F9629321E}" type="datetime3">
              <a:rPr lang="en-US" smtClean="0"/>
              <a:t>27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rgbClr val="FEFEFE">
              <a:alpha val="89804"/>
            </a:srgb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90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Highlight 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F109927-7A4D-4752-9540-79903F90FDF6}" type="datetime3">
              <a:rPr lang="en-US" smtClean="0"/>
              <a:t>27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1428" y="0"/>
            <a:ext cx="3613312" cy="6858000"/>
          </a:xfrm>
          <a:prstGeom prst="rect">
            <a:avLst/>
          </a:prstGeo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5978" tIns="215978" rIns="215978" bIns="532800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40524" y="1628775"/>
            <a:ext cx="3168242" cy="48229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7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77FD8CA-4E29-439A-B69E-D1E9CC03E2A6}" type="datetime3">
              <a:rPr lang="en-US" smtClean="0"/>
              <a:t>27 April 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endParaRPr lang="fi-FI" noProof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86360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272878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alpha val="90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5469" y="1628775"/>
            <a:ext cx="5254845" cy="4607070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809710D-4AA6-4C54-BD42-39565CAE7CD9}" type="datetime3">
              <a:rPr lang="en-US" smtClean="0"/>
              <a:pPr/>
              <a:t>27 April 202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69815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Blue (wholepicture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415414C-949E-425D-8E62-A97E7EECC9DD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solidFill>
            <a:schemeClr val="tx2">
              <a:alpha val="85000"/>
            </a:schemeClr>
          </a:solidFill>
        </p:spPr>
        <p:txBody>
          <a:bodyPr lIns="413876" tIns="395881" rIns="395881" bIns="3132000" anchor="t" anchorCtr="0"/>
          <a:lstStyle>
            <a:lvl1pPr>
              <a:defRPr sz="32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409469" y="1628775"/>
            <a:ext cx="5254845" cy="460707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65571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29539" y="0"/>
            <a:ext cx="5159617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469" y="404719"/>
            <a:ext cx="6262462" cy="863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468" y="1628398"/>
            <a:ext cx="6262461" cy="4607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E77BC2-1EC0-4C6A-9B1D-E04F346276AD}" type="datetime3">
              <a:rPr lang="en-US" smtClean="0"/>
              <a:t>27 April 202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10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EAA66FB-5CBC-430D-96B8-D7BFB0ED2E7C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53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5CD8662-599E-42AB-B929-7597CCBCBBA9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470" y="2421094"/>
            <a:ext cx="10365263" cy="1294358"/>
          </a:xfrm>
          <a:prstGeom prst="rect">
            <a:avLst/>
          </a:prstGeom>
        </p:spPr>
        <p:txBody>
          <a:bodyPr anchor="b" anchorCtr="0"/>
          <a:lstStyle>
            <a:lvl1pPr>
              <a:defRPr sz="400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3789357"/>
            <a:ext cx="10365265" cy="6475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636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A935929-9ABB-4D00-A23A-07866791B174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1B9">
              <a:alpha val="85000"/>
            </a:srgb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87669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6956281-1F5B-4153-A334-9B72629112E5}" type="datetime3">
              <a:rPr lang="en-US" smtClean="0"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413876" tIns="395881" rIns="395881" bIns="13316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469" y="5588295"/>
            <a:ext cx="5254585" cy="64754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GB" noProof="0"/>
              <a:t>Click to edit Master subtitle style</a:t>
            </a:r>
            <a:endParaRPr lang="en-US" noProof="0"/>
          </a:p>
        </p:txBody>
      </p:sp>
      <p:sp>
        <p:nvSpPr>
          <p:cNvPr id="8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193664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2AEB9A0-0B06-4F02-A6B4-BE983BE9EFAC}" type="datetime3">
              <a:rPr lang="en-US" smtClean="0"/>
              <a:t>27 April 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126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898" y="0"/>
            <a:ext cx="3613312" cy="6858000"/>
          </a:xfrm>
          <a:prstGeom prst="rect">
            <a:avLst/>
          </a:prstGeo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5978" tIns="215978" rIns="215978" bIns="4534639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3994" y="2493087"/>
            <a:ext cx="3168242" cy="39586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Tx/>
              <a:buNone/>
              <a:defRPr sz="1600">
                <a:solidFill>
                  <a:schemeClr val="tx2"/>
                </a:solidFill>
              </a:defRPr>
            </a:lvl1pPr>
            <a:lvl2pPr marL="266620" indent="-266620">
              <a:lnSpc>
                <a:spcPct val="120000"/>
              </a:lnSpc>
              <a:spcBef>
                <a:spcPts val="400"/>
              </a:spcBef>
              <a:buClrTx/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588" indent="-272968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</a:defRPr>
            </a:lvl3pPr>
            <a:lvl4pPr marL="806208" indent="-266620">
              <a:lnSpc>
                <a:spcPct val="120000"/>
              </a:lnSpc>
              <a:spcBef>
                <a:spcPts val="400"/>
              </a:spcBef>
              <a:buClrTx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</a:defRPr>
            </a:lvl4pPr>
            <a:lvl5pPr marL="1071242" indent="-265033">
              <a:lnSpc>
                <a:spcPct val="12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−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3519" y="403107"/>
            <a:ext cx="719813" cy="36351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1480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3" y="6454214"/>
            <a:ext cx="2087562" cy="14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5AB89707-EDC0-469C-AAE2-ECBCA25378E4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0700" y="6454214"/>
            <a:ext cx="2374900" cy="144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7988" y="1628774"/>
            <a:ext cx="10367962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7988" y="404812"/>
            <a:ext cx="10367962" cy="8636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15" name="(c)" hidden="1"/>
          <p:cNvSpPr txBox="1"/>
          <p:nvPr/>
        </p:nvSpPr>
        <p:spPr>
          <a:xfrm>
            <a:off x="11863353" y="6886274"/>
            <a:ext cx="331822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401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437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4380" r:id="rId29"/>
    <p:sldLayoutId id="2147483688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5178" r:id="rId36"/>
    <p:sldLayoutId id="2147484375" r:id="rId37"/>
    <p:sldLayoutId id="2147485040" r:id="rId38"/>
    <p:sldLayoutId id="2147485119" r:id="rId39"/>
    <p:sldLayoutId id="2147485176" r:id="rId40"/>
    <p:sldLayoutId id="2147485177" r:id="rId41"/>
    <p:sldLayoutId id="2147485115" r:id="rId42"/>
    <p:sldLayoutId id="2147485116" r:id="rId43"/>
    <p:sldLayoutId id="2147485117" r:id="rId44"/>
    <p:sldLayoutId id="2147485118" r:id="rId45"/>
    <p:sldLayoutId id="2147485179" r:id="rId46"/>
    <p:sldLayoutId id="2147485180" r:id="rId47"/>
    <p:sldLayoutId id="2147485181" r:id="rId48"/>
    <p:sldLayoutId id="2147485183" r:id="rId49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.xml"/><Relationship Id="rId4" Type="http://schemas.openxmlformats.org/officeDocument/2006/relationships/slide" Target="slide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 r="50"/>
          <a:stretch/>
        </p:blipFill>
        <p:spPr/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CF504-A842-4EF3-8576-912B27EFFAC5}" type="datetime3">
              <a:rPr lang="en-US" smtClean="0"/>
              <a:t>27 April 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 |  © KONE Corpor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Interactive Visualization Project</a:t>
            </a:r>
            <a:b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</a:br>
            <a:r>
              <a:rPr lang="en" dirty="0">
                <a:solidFill>
                  <a:schemeClr val="l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Arial"/>
                <a:cs typeface="Arial"/>
                <a:sym typeface="Arial"/>
              </a:rPr>
              <a:t>NYPD Shooting Incident Data</a:t>
            </a:r>
            <a:endParaRPr lang="fi-FI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DREAM TEAM 2 – May 1st, 2021</a:t>
            </a:r>
          </a:p>
        </p:txBody>
      </p:sp>
    </p:spTree>
    <p:extLst>
      <p:ext uri="{BB962C8B-B14F-4D97-AF65-F5344CB8AC3E}">
        <p14:creationId xmlns:p14="http://schemas.microsoft.com/office/powerpoint/2010/main" val="29935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09D70-EEC8-4BE1-AA15-4FD8CD7AB558}" type="datetime3">
              <a:rPr lang="en-US" smtClean="0"/>
              <a:pPr/>
              <a:t>27 April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/>
              <a:t>Thank you!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lvl="1"/>
            <a:r>
              <a:rPr lang="en-US"/>
              <a:t>Colin O’Neill</a:t>
            </a:r>
          </a:p>
          <a:p>
            <a:pPr lvl="1"/>
            <a:r>
              <a:rPr lang="en-US"/>
              <a:t>Gabriel Bang</a:t>
            </a:r>
          </a:p>
          <a:p>
            <a:pPr lvl="1"/>
            <a:r>
              <a:rPr lang="en-US"/>
              <a:t>Emma </a:t>
            </a:r>
            <a:r>
              <a:rPr lang="en-US" err="1"/>
              <a:t>Kruis</a:t>
            </a:r>
            <a:endParaRPr lang="en-US"/>
          </a:p>
          <a:p>
            <a:pPr lvl="1"/>
            <a:r>
              <a:rPr lang="en-US"/>
              <a:t>Konsta </a:t>
            </a:r>
            <a:r>
              <a:rPr lang="en-US" err="1"/>
              <a:t>Jokipii</a:t>
            </a:r>
            <a:endParaRPr lang="en-US"/>
          </a:p>
          <a:p>
            <a:pPr lvl="1"/>
            <a:r>
              <a:rPr lang="en-US"/>
              <a:t>Mary </a:t>
            </a:r>
            <a:r>
              <a:rPr lang="en-US" err="1"/>
              <a:t>Colasant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80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225E1-E6D5-5044-9079-530318872A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pic>
        <p:nvPicPr>
          <p:cNvPr id="20" name="Picture Placeholder 19" descr="A picture containing sky, outdoor, mountain, city&#10;&#10;Description automatically generated">
            <a:extLst>
              <a:ext uri="{FF2B5EF4-FFF2-40B4-BE49-F238E27FC236}">
                <a16:creationId xmlns:a16="http://schemas.microsoft.com/office/drawing/2014/main" id="{5C90F42E-729B-E441-84B9-51306CDFA0E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59" r="34159"/>
          <a:stretch>
            <a:fillRect/>
          </a:stretch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2A164FF-C8FC-D748-AFB0-38A75A105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D460D-4B40-C843-B359-D239530630B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93031C-8415-4DC6-92E3-BB6AB42887AC}" type="datetime3">
              <a:rPr lang="en-US" noProof="0" smtClean="0"/>
              <a:t>27 April 2021</a:t>
            </a:fld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213E84-2FAE-734A-86D5-B500DB8FC9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8" name="Content Placeholder 15">
            <a:extLst>
              <a:ext uri="{FF2B5EF4-FFF2-40B4-BE49-F238E27FC236}">
                <a16:creationId xmlns:a16="http://schemas.microsoft.com/office/drawing/2014/main" id="{0DF21660-FD48-B344-9754-1D7190DAEB39}"/>
              </a:ext>
            </a:extLst>
          </p:cNvPr>
          <p:cNvSpPr txBox="1">
            <a:spLocks/>
          </p:cNvSpPr>
          <p:nvPr/>
        </p:nvSpPr>
        <p:spPr>
          <a:xfrm>
            <a:off x="407988" y="1556753"/>
            <a:ext cx="5254845" cy="460707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20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Project Overview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Dataset</a:t>
            </a:r>
          </a:p>
          <a:p>
            <a:pPr marL="533400" lvl="2" indent="0">
              <a:buFont typeface="Wingdings" panose="05000000000000000000" pitchFamily="2" charset="2"/>
              <a:buNone/>
            </a:pPr>
            <a:r>
              <a:rPr lang="fi-FI" dirty="0"/>
              <a:t>JavaScript Code &amp; Visuals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eatmap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Plotly</a:t>
            </a:r>
          </a:p>
          <a:p>
            <a:pPr marL="804863" lvl="3" indent="0">
              <a:buFont typeface="Arial" panose="020B0604020202020204" pitchFamily="34" charset="0"/>
              <a:buNone/>
            </a:pPr>
            <a:r>
              <a:rPr lang="fi-FI" dirty="0"/>
              <a:t>HTML/CSS</a:t>
            </a:r>
          </a:p>
        </p:txBody>
      </p:sp>
      <p:sp>
        <p:nvSpPr>
          <p:cNvPr id="9" name="Freeform 6">
            <a:hlinkClick r:id="rId3" action="ppaction://hlinksldjump"/>
            <a:extLst>
              <a:ext uri="{FF2B5EF4-FFF2-40B4-BE49-F238E27FC236}">
                <a16:creationId xmlns:a16="http://schemas.microsoft.com/office/drawing/2014/main" id="{E0AC2361-CFB9-154F-9517-73768A0673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593610"/>
            <a:ext cx="261360" cy="261360"/>
          </a:xfrm>
          <a:custGeom>
            <a:avLst/>
            <a:gdLst>
              <a:gd name="T0" fmla="*/ 877 w 2141"/>
              <a:gd name="T1" fmla="*/ 123 h 2143"/>
              <a:gd name="T2" fmla="*/ 673 w 2141"/>
              <a:gd name="T3" fmla="*/ 189 h 2143"/>
              <a:gd name="T4" fmla="*/ 493 w 2141"/>
              <a:gd name="T5" fmla="*/ 296 h 2143"/>
              <a:gd name="T6" fmla="*/ 340 w 2141"/>
              <a:gd name="T7" fmla="*/ 438 h 2143"/>
              <a:gd name="T8" fmla="*/ 221 w 2141"/>
              <a:gd name="T9" fmla="*/ 610 h 2143"/>
              <a:gd name="T10" fmla="*/ 141 w 2141"/>
              <a:gd name="T11" fmla="*/ 806 h 2143"/>
              <a:gd name="T12" fmla="*/ 105 w 2141"/>
              <a:gd name="T13" fmla="*/ 1021 h 2143"/>
              <a:gd name="T14" fmla="*/ 118 w 2141"/>
              <a:gd name="T15" fmla="*/ 1242 h 2143"/>
              <a:gd name="T16" fmla="*/ 180 w 2141"/>
              <a:gd name="T17" fmla="*/ 1448 h 2143"/>
              <a:gd name="T18" fmla="*/ 282 w 2141"/>
              <a:gd name="T19" fmla="*/ 1631 h 2143"/>
              <a:gd name="T20" fmla="*/ 421 w 2141"/>
              <a:gd name="T21" fmla="*/ 1788 h 2143"/>
              <a:gd name="T22" fmla="*/ 590 w 2141"/>
              <a:gd name="T23" fmla="*/ 1911 h 2143"/>
              <a:gd name="T24" fmla="*/ 783 w 2141"/>
              <a:gd name="T25" fmla="*/ 1996 h 2143"/>
              <a:gd name="T26" fmla="*/ 997 w 2141"/>
              <a:gd name="T27" fmla="*/ 2037 h 2143"/>
              <a:gd name="T28" fmla="*/ 1219 w 2141"/>
              <a:gd name="T29" fmla="*/ 2028 h 2143"/>
              <a:gd name="T30" fmla="*/ 1426 w 2141"/>
              <a:gd name="T31" fmla="*/ 1973 h 2143"/>
              <a:gd name="T32" fmla="*/ 1611 w 2141"/>
              <a:gd name="T33" fmla="*/ 1873 h 2143"/>
              <a:gd name="T34" fmla="*/ 1771 w 2141"/>
              <a:gd name="T35" fmla="*/ 1738 h 2143"/>
              <a:gd name="T36" fmla="*/ 1898 w 2141"/>
              <a:gd name="T37" fmla="*/ 1573 h 2143"/>
              <a:gd name="T38" fmla="*/ 1987 w 2141"/>
              <a:gd name="T39" fmla="*/ 1382 h 2143"/>
              <a:gd name="T40" fmla="*/ 2033 w 2141"/>
              <a:gd name="T41" fmla="*/ 1170 h 2143"/>
              <a:gd name="T42" fmla="*/ 2031 w 2141"/>
              <a:gd name="T43" fmla="*/ 948 h 2143"/>
              <a:gd name="T44" fmla="*/ 1979 w 2141"/>
              <a:gd name="T45" fmla="*/ 739 h 2143"/>
              <a:gd name="T46" fmla="*/ 1886 w 2141"/>
              <a:gd name="T47" fmla="*/ 550 h 2143"/>
              <a:gd name="T48" fmla="*/ 1756 w 2141"/>
              <a:gd name="T49" fmla="*/ 388 h 2143"/>
              <a:gd name="T50" fmla="*/ 1592 w 2141"/>
              <a:gd name="T51" fmla="*/ 256 h 2143"/>
              <a:gd name="T52" fmla="*/ 1403 w 2141"/>
              <a:gd name="T53" fmla="*/ 162 h 2143"/>
              <a:gd name="T54" fmla="*/ 1194 w 2141"/>
              <a:gd name="T55" fmla="*/ 111 h 2143"/>
              <a:gd name="T56" fmla="*/ 989 w 2141"/>
              <a:gd name="T57" fmla="*/ 2139 h 2143"/>
              <a:gd name="T58" fmla="*/ 753 w 2141"/>
              <a:gd name="T59" fmla="*/ 2094 h 2143"/>
              <a:gd name="T60" fmla="*/ 538 w 2141"/>
              <a:gd name="T61" fmla="*/ 2001 h 2143"/>
              <a:gd name="T62" fmla="*/ 351 w 2141"/>
              <a:gd name="T63" fmla="*/ 1864 h 2143"/>
              <a:gd name="T64" fmla="*/ 198 w 2141"/>
              <a:gd name="T65" fmla="*/ 1691 h 2143"/>
              <a:gd name="T66" fmla="*/ 84 w 2141"/>
              <a:gd name="T67" fmla="*/ 1488 h 2143"/>
              <a:gd name="T68" fmla="*/ 17 w 2141"/>
              <a:gd name="T69" fmla="*/ 1261 h 2143"/>
              <a:gd name="T70" fmla="*/ 1 w 2141"/>
              <a:gd name="T71" fmla="*/ 1017 h 2143"/>
              <a:gd name="T72" fmla="*/ 41 w 2141"/>
              <a:gd name="T73" fmla="*/ 778 h 2143"/>
              <a:gd name="T74" fmla="*/ 129 w 2141"/>
              <a:gd name="T75" fmla="*/ 561 h 2143"/>
              <a:gd name="T76" fmla="*/ 261 w 2141"/>
              <a:gd name="T77" fmla="*/ 371 h 2143"/>
              <a:gd name="T78" fmla="*/ 431 w 2141"/>
              <a:gd name="T79" fmla="*/ 213 h 2143"/>
              <a:gd name="T80" fmla="*/ 630 w 2141"/>
              <a:gd name="T81" fmla="*/ 95 h 2143"/>
              <a:gd name="T82" fmla="*/ 855 w 2141"/>
              <a:gd name="T83" fmla="*/ 22 h 2143"/>
              <a:gd name="T84" fmla="*/ 1098 w 2141"/>
              <a:gd name="T85" fmla="*/ 0 h 2143"/>
              <a:gd name="T86" fmla="*/ 1338 w 2141"/>
              <a:gd name="T87" fmla="*/ 34 h 2143"/>
              <a:gd name="T88" fmla="*/ 1559 w 2141"/>
              <a:gd name="T89" fmla="*/ 117 h 2143"/>
              <a:gd name="T90" fmla="*/ 1752 w 2141"/>
              <a:gd name="T91" fmla="*/ 245 h 2143"/>
              <a:gd name="T92" fmla="*/ 1913 w 2141"/>
              <a:gd name="T93" fmla="*/ 410 h 2143"/>
              <a:gd name="T94" fmla="*/ 2036 w 2141"/>
              <a:gd name="T95" fmla="*/ 607 h 2143"/>
              <a:gd name="T96" fmla="*/ 2114 w 2141"/>
              <a:gd name="T97" fmla="*/ 830 h 2143"/>
              <a:gd name="T98" fmla="*/ 2141 w 2141"/>
              <a:gd name="T99" fmla="*/ 1071 h 2143"/>
              <a:gd name="T100" fmla="*/ 2114 w 2141"/>
              <a:gd name="T101" fmla="*/ 1313 h 2143"/>
              <a:gd name="T102" fmla="*/ 2036 w 2141"/>
              <a:gd name="T103" fmla="*/ 1536 h 2143"/>
              <a:gd name="T104" fmla="*/ 1913 w 2141"/>
              <a:gd name="T105" fmla="*/ 1733 h 2143"/>
              <a:gd name="T106" fmla="*/ 1752 w 2141"/>
              <a:gd name="T107" fmla="*/ 1898 h 2143"/>
              <a:gd name="T108" fmla="*/ 1559 w 2141"/>
              <a:gd name="T109" fmla="*/ 2025 h 2143"/>
              <a:gd name="T110" fmla="*/ 1338 w 2141"/>
              <a:gd name="T111" fmla="*/ 2109 h 2143"/>
              <a:gd name="T112" fmla="*/ 1098 w 2141"/>
              <a:gd name="T113" fmla="*/ 2143 h 2143"/>
              <a:gd name="T114" fmla="*/ 1216 w 2141"/>
              <a:gd name="T115" fmla="*/ 1604 h 2143"/>
              <a:gd name="T116" fmla="*/ 1089 w 2141"/>
              <a:gd name="T117" fmla="*/ 1600 h 2143"/>
              <a:gd name="T118" fmla="*/ 925 w 2141"/>
              <a:gd name="T119" fmla="*/ 664 h 2143"/>
              <a:gd name="T120" fmla="*/ 917 w 2141"/>
              <a:gd name="T121" fmla="*/ 569 h 2143"/>
              <a:gd name="T122" fmla="*/ 1213 w 2141"/>
              <a:gd name="T123" fmla="*/ 536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1" h="2143">
                <a:moveTo>
                  <a:pt x="1071" y="104"/>
                </a:moveTo>
                <a:lnTo>
                  <a:pt x="1047" y="104"/>
                </a:lnTo>
                <a:lnTo>
                  <a:pt x="1022" y="105"/>
                </a:lnTo>
                <a:lnTo>
                  <a:pt x="997" y="106"/>
                </a:lnTo>
                <a:lnTo>
                  <a:pt x="972" y="108"/>
                </a:lnTo>
                <a:lnTo>
                  <a:pt x="948" y="111"/>
                </a:lnTo>
                <a:lnTo>
                  <a:pt x="924" y="114"/>
                </a:lnTo>
                <a:lnTo>
                  <a:pt x="900" y="118"/>
                </a:lnTo>
                <a:lnTo>
                  <a:pt x="877" y="123"/>
                </a:lnTo>
                <a:lnTo>
                  <a:pt x="853" y="129"/>
                </a:lnTo>
                <a:lnTo>
                  <a:pt x="829" y="134"/>
                </a:lnTo>
                <a:lnTo>
                  <a:pt x="807" y="140"/>
                </a:lnTo>
                <a:lnTo>
                  <a:pt x="783" y="147"/>
                </a:lnTo>
                <a:lnTo>
                  <a:pt x="761" y="154"/>
                </a:lnTo>
                <a:lnTo>
                  <a:pt x="738" y="162"/>
                </a:lnTo>
                <a:lnTo>
                  <a:pt x="717" y="170"/>
                </a:lnTo>
                <a:lnTo>
                  <a:pt x="694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10"/>
                </a:lnTo>
                <a:lnTo>
                  <a:pt x="610" y="220"/>
                </a:lnTo>
                <a:lnTo>
                  <a:pt x="590" y="232"/>
                </a:lnTo>
                <a:lnTo>
                  <a:pt x="569" y="243"/>
                </a:lnTo>
                <a:lnTo>
                  <a:pt x="550" y="256"/>
                </a:lnTo>
                <a:lnTo>
                  <a:pt x="530" y="269"/>
                </a:lnTo>
                <a:lnTo>
                  <a:pt x="511" y="282"/>
                </a:lnTo>
                <a:lnTo>
                  <a:pt x="493" y="296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4" y="371"/>
                </a:lnTo>
                <a:lnTo>
                  <a:pt x="387" y="388"/>
                </a:lnTo>
                <a:lnTo>
                  <a:pt x="371" y="403"/>
                </a:lnTo>
                <a:lnTo>
                  <a:pt x="356" y="421"/>
                </a:lnTo>
                <a:lnTo>
                  <a:pt x="340" y="438"/>
                </a:lnTo>
                <a:lnTo>
                  <a:pt x="325" y="456"/>
                </a:lnTo>
                <a:lnTo>
                  <a:pt x="311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7" y="550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09" y="631"/>
                </a:lnTo>
                <a:lnTo>
                  <a:pt x="199" y="652"/>
                </a:lnTo>
                <a:lnTo>
                  <a:pt x="189" y="673"/>
                </a:lnTo>
                <a:lnTo>
                  <a:pt x="180" y="695"/>
                </a:lnTo>
                <a:lnTo>
                  <a:pt x="171" y="716"/>
                </a:lnTo>
                <a:lnTo>
                  <a:pt x="162" y="739"/>
                </a:lnTo>
                <a:lnTo>
                  <a:pt x="154" y="761"/>
                </a:lnTo>
                <a:lnTo>
                  <a:pt x="147" y="784"/>
                </a:lnTo>
                <a:lnTo>
                  <a:pt x="141" y="806"/>
                </a:lnTo>
                <a:lnTo>
                  <a:pt x="134" y="830"/>
                </a:lnTo>
                <a:lnTo>
                  <a:pt x="128" y="854"/>
                </a:lnTo>
                <a:lnTo>
                  <a:pt x="123" y="876"/>
                </a:lnTo>
                <a:lnTo>
                  <a:pt x="118" y="900"/>
                </a:lnTo>
                <a:lnTo>
                  <a:pt x="115" y="924"/>
                </a:lnTo>
                <a:lnTo>
                  <a:pt x="111" y="948"/>
                </a:lnTo>
                <a:lnTo>
                  <a:pt x="108" y="973"/>
                </a:lnTo>
                <a:lnTo>
                  <a:pt x="106" y="997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7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70"/>
                </a:lnTo>
                <a:lnTo>
                  <a:pt x="111" y="1195"/>
                </a:lnTo>
                <a:lnTo>
                  <a:pt x="115" y="1218"/>
                </a:lnTo>
                <a:lnTo>
                  <a:pt x="118" y="1242"/>
                </a:lnTo>
                <a:lnTo>
                  <a:pt x="123" y="1267"/>
                </a:lnTo>
                <a:lnTo>
                  <a:pt x="128" y="1289"/>
                </a:lnTo>
                <a:lnTo>
                  <a:pt x="134" y="1313"/>
                </a:lnTo>
                <a:lnTo>
                  <a:pt x="141" y="1337"/>
                </a:lnTo>
                <a:lnTo>
                  <a:pt x="147" y="1359"/>
                </a:lnTo>
                <a:lnTo>
                  <a:pt x="154" y="1382"/>
                </a:lnTo>
                <a:lnTo>
                  <a:pt x="162" y="1404"/>
                </a:lnTo>
                <a:lnTo>
                  <a:pt x="171" y="1425"/>
                </a:lnTo>
                <a:lnTo>
                  <a:pt x="180" y="1448"/>
                </a:lnTo>
                <a:lnTo>
                  <a:pt x="189" y="1469"/>
                </a:lnTo>
                <a:lnTo>
                  <a:pt x="199" y="1491"/>
                </a:lnTo>
                <a:lnTo>
                  <a:pt x="209" y="1512"/>
                </a:lnTo>
                <a:lnTo>
                  <a:pt x="221" y="1532"/>
                </a:lnTo>
                <a:lnTo>
                  <a:pt x="232" y="1553"/>
                </a:lnTo>
                <a:lnTo>
                  <a:pt x="244" y="1573"/>
                </a:lnTo>
                <a:lnTo>
                  <a:pt x="257" y="1593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51"/>
                </a:lnTo>
                <a:lnTo>
                  <a:pt x="311" y="1669"/>
                </a:lnTo>
                <a:lnTo>
                  <a:pt x="325" y="1687"/>
                </a:lnTo>
                <a:lnTo>
                  <a:pt x="340" y="1705"/>
                </a:lnTo>
                <a:lnTo>
                  <a:pt x="356" y="1722"/>
                </a:lnTo>
                <a:lnTo>
                  <a:pt x="371" y="1738"/>
                </a:lnTo>
                <a:lnTo>
                  <a:pt x="387" y="1755"/>
                </a:lnTo>
                <a:lnTo>
                  <a:pt x="404" y="1772"/>
                </a:lnTo>
                <a:lnTo>
                  <a:pt x="421" y="1788"/>
                </a:lnTo>
                <a:lnTo>
                  <a:pt x="438" y="1803"/>
                </a:lnTo>
                <a:lnTo>
                  <a:pt x="456" y="1818"/>
                </a:lnTo>
                <a:lnTo>
                  <a:pt x="474" y="1833"/>
                </a:lnTo>
                <a:lnTo>
                  <a:pt x="493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7"/>
                </a:lnTo>
                <a:lnTo>
                  <a:pt x="569" y="1899"/>
                </a:lnTo>
                <a:lnTo>
                  <a:pt x="590" y="1911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4" y="1964"/>
                </a:lnTo>
                <a:lnTo>
                  <a:pt x="717" y="1973"/>
                </a:lnTo>
                <a:lnTo>
                  <a:pt x="738" y="1980"/>
                </a:lnTo>
                <a:lnTo>
                  <a:pt x="761" y="1988"/>
                </a:lnTo>
                <a:lnTo>
                  <a:pt x="783" y="1996"/>
                </a:lnTo>
                <a:lnTo>
                  <a:pt x="807" y="2003"/>
                </a:lnTo>
                <a:lnTo>
                  <a:pt x="829" y="2009"/>
                </a:lnTo>
                <a:lnTo>
                  <a:pt x="853" y="2014"/>
                </a:lnTo>
                <a:lnTo>
                  <a:pt x="877" y="2020"/>
                </a:lnTo>
                <a:lnTo>
                  <a:pt x="900" y="2024"/>
                </a:lnTo>
                <a:lnTo>
                  <a:pt x="924" y="2028"/>
                </a:lnTo>
                <a:lnTo>
                  <a:pt x="948" y="2031"/>
                </a:lnTo>
                <a:lnTo>
                  <a:pt x="972" y="2034"/>
                </a:lnTo>
                <a:lnTo>
                  <a:pt x="997" y="2037"/>
                </a:lnTo>
                <a:lnTo>
                  <a:pt x="1022" y="2038"/>
                </a:lnTo>
                <a:lnTo>
                  <a:pt x="1047" y="2039"/>
                </a:lnTo>
                <a:lnTo>
                  <a:pt x="1071" y="2039"/>
                </a:lnTo>
                <a:lnTo>
                  <a:pt x="1096" y="2039"/>
                </a:lnTo>
                <a:lnTo>
                  <a:pt x="1121" y="2038"/>
                </a:lnTo>
                <a:lnTo>
                  <a:pt x="1146" y="2037"/>
                </a:lnTo>
                <a:lnTo>
                  <a:pt x="1170" y="2034"/>
                </a:lnTo>
                <a:lnTo>
                  <a:pt x="1194" y="2031"/>
                </a:lnTo>
                <a:lnTo>
                  <a:pt x="1219" y="2028"/>
                </a:lnTo>
                <a:lnTo>
                  <a:pt x="1242" y="2024"/>
                </a:lnTo>
                <a:lnTo>
                  <a:pt x="1266" y="2020"/>
                </a:lnTo>
                <a:lnTo>
                  <a:pt x="1290" y="2014"/>
                </a:lnTo>
                <a:lnTo>
                  <a:pt x="1312" y="2009"/>
                </a:lnTo>
                <a:lnTo>
                  <a:pt x="1336" y="2003"/>
                </a:lnTo>
                <a:lnTo>
                  <a:pt x="1358" y="1996"/>
                </a:lnTo>
                <a:lnTo>
                  <a:pt x="1381" y="1988"/>
                </a:lnTo>
                <a:lnTo>
                  <a:pt x="1403" y="1980"/>
                </a:lnTo>
                <a:lnTo>
                  <a:pt x="1426" y="1973"/>
                </a:lnTo>
                <a:lnTo>
                  <a:pt x="1447" y="1964"/>
                </a:lnTo>
                <a:lnTo>
                  <a:pt x="1469" y="1953"/>
                </a:lnTo>
                <a:lnTo>
                  <a:pt x="1490" y="1943"/>
                </a:lnTo>
                <a:lnTo>
                  <a:pt x="1511" y="1933"/>
                </a:lnTo>
                <a:lnTo>
                  <a:pt x="1532" y="1922"/>
                </a:lnTo>
                <a:lnTo>
                  <a:pt x="1552" y="1911"/>
                </a:lnTo>
                <a:lnTo>
                  <a:pt x="1572" y="1899"/>
                </a:lnTo>
                <a:lnTo>
                  <a:pt x="1592" y="1887"/>
                </a:lnTo>
                <a:lnTo>
                  <a:pt x="1611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3"/>
                </a:lnTo>
                <a:lnTo>
                  <a:pt x="1686" y="1818"/>
                </a:lnTo>
                <a:lnTo>
                  <a:pt x="1704" y="1803"/>
                </a:lnTo>
                <a:lnTo>
                  <a:pt x="1722" y="1788"/>
                </a:lnTo>
                <a:lnTo>
                  <a:pt x="1739" y="1772"/>
                </a:lnTo>
                <a:lnTo>
                  <a:pt x="1756" y="1755"/>
                </a:lnTo>
                <a:lnTo>
                  <a:pt x="1771" y="1738"/>
                </a:lnTo>
                <a:lnTo>
                  <a:pt x="1787" y="1722"/>
                </a:lnTo>
                <a:lnTo>
                  <a:pt x="1803" y="1705"/>
                </a:lnTo>
                <a:lnTo>
                  <a:pt x="1817" y="1687"/>
                </a:lnTo>
                <a:lnTo>
                  <a:pt x="1832" y="1669"/>
                </a:lnTo>
                <a:lnTo>
                  <a:pt x="1847" y="1651"/>
                </a:lnTo>
                <a:lnTo>
                  <a:pt x="1860" y="1631"/>
                </a:lnTo>
                <a:lnTo>
                  <a:pt x="1874" y="1612"/>
                </a:lnTo>
                <a:lnTo>
                  <a:pt x="1886" y="1593"/>
                </a:lnTo>
                <a:lnTo>
                  <a:pt x="1898" y="1573"/>
                </a:lnTo>
                <a:lnTo>
                  <a:pt x="1911" y="1553"/>
                </a:lnTo>
                <a:lnTo>
                  <a:pt x="1922" y="1532"/>
                </a:lnTo>
                <a:lnTo>
                  <a:pt x="1932" y="1512"/>
                </a:lnTo>
                <a:lnTo>
                  <a:pt x="1943" y="1491"/>
                </a:lnTo>
                <a:lnTo>
                  <a:pt x="1954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79" y="1404"/>
                </a:lnTo>
                <a:lnTo>
                  <a:pt x="1987" y="1382"/>
                </a:lnTo>
                <a:lnTo>
                  <a:pt x="1995" y="1359"/>
                </a:lnTo>
                <a:lnTo>
                  <a:pt x="2002" y="1337"/>
                </a:lnTo>
                <a:lnTo>
                  <a:pt x="2009" y="1313"/>
                </a:lnTo>
                <a:lnTo>
                  <a:pt x="2014" y="1289"/>
                </a:lnTo>
                <a:lnTo>
                  <a:pt x="2019" y="1267"/>
                </a:lnTo>
                <a:lnTo>
                  <a:pt x="2023" y="1242"/>
                </a:lnTo>
                <a:lnTo>
                  <a:pt x="2028" y="1218"/>
                </a:lnTo>
                <a:lnTo>
                  <a:pt x="2031" y="1195"/>
                </a:lnTo>
                <a:lnTo>
                  <a:pt x="2033" y="1170"/>
                </a:lnTo>
                <a:lnTo>
                  <a:pt x="2036" y="1146"/>
                </a:lnTo>
                <a:lnTo>
                  <a:pt x="2038" y="1121"/>
                </a:lnTo>
                <a:lnTo>
                  <a:pt x="2038" y="1097"/>
                </a:lnTo>
                <a:lnTo>
                  <a:pt x="2039" y="1071"/>
                </a:lnTo>
                <a:lnTo>
                  <a:pt x="2038" y="1046"/>
                </a:lnTo>
                <a:lnTo>
                  <a:pt x="2038" y="1021"/>
                </a:lnTo>
                <a:lnTo>
                  <a:pt x="2036" y="997"/>
                </a:lnTo>
                <a:lnTo>
                  <a:pt x="2033" y="973"/>
                </a:lnTo>
                <a:lnTo>
                  <a:pt x="2031" y="948"/>
                </a:lnTo>
                <a:lnTo>
                  <a:pt x="2028" y="924"/>
                </a:lnTo>
                <a:lnTo>
                  <a:pt x="2023" y="900"/>
                </a:lnTo>
                <a:lnTo>
                  <a:pt x="2019" y="876"/>
                </a:lnTo>
                <a:lnTo>
                  <a:pt x="2014" y="854"/>
                </a:lnTo>
                <a:lnTo>
                  <a:pt x="2009" y="830"/>
                </a:lnTo>
                <a:lnTo>
                  <a:pt x="2002" y="806"/>
                </a:lnTo>
                <a:lnTo>
                  <a:pt x="1995" y="784"/>
                </a:lnTo>
                <a:lnTo>
                  <a:pt x="1987" y="761"/>
                </a:lnTo>
                <a:lnTo>
                  <a:pt x="1979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4" y="673"/>
                </a:lnTo>
                <a:lnTo>
                  <a:pt x="1943" y="652"/>
                </a:lnTo>
                <a:lnTo>
                  <a:pt x="1932" y="631"/>
                </a:lnTo>
                <a:lnTo>
                  <a:pt x="1922" y="610"/>
                </a:lnTo>
                <a:lnTo>
                  <a:pt x="1911" y="590"/>
                </a:lnTo>
                <a:lnTo>
                  <a:pt x="1898" y="570"/>
                </a:lnTo>
                <a:lnTo>
                  <a:pt x="1886" y="550"/>
                </a:lnTo>
                <a:lnTo>
                  <a:pt x="1874" y="530"/>
                </a:lnTo>
                <a:lnTo>
                  <a:pt x="1860" y="511"/>
                </a:lnTo>
                <a:lnTo>
                  <a:pt x="1847" y="492"/>
                </a:lnTo>
                <a:lnTo>
                  <a:pt x="1832" y="474"/>
                </a:lnTo>
                <a:lnTo>
                  <a:pt x="1817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1" y="403"/>
                </a:lnTo>
                <a:lnTo>
                  <a:pt x="1756" y="388"/>
                </a:lnTo>
                <a:lnTo>
                  <a:pt x="1739" y="371"/>
                </a:lnTo>
                <a:lnTo>
                  <a:pt x="1722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6"/>
                </a:lnTo>
                <a:lnTo>
                  <a:pt x="1631" y="282"/>
                </a:lnTo>
                <a:lnTo>
                  <a:pt x="1611" y="269"/>
                </a:lnTo>
                <a:lnTo>
                  <a:pt x="1592" y="256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20"/>
                </a:lnTo>
                <a:lnTo>
                  <a:pt x="1511" y="210"/>
                </a:lnTo>
                <a:lnTo>
                  <a:pt x="1490" y="198"/>
                </a:lnTo>
                <a:lnTo>
                  <a:pt x="1469" y="189"/>
                </a:lnTo>
                <a:lnTo>
                  <a:pt x="1447" y="179"/>
                </a:lnTo>
                <a:lnTo>
                  <a:pt x="1426" y="170"/>
                </a:lnTo>
                <a:lnTo>
                  <a:pt x="1403" y="162"/>
                </a:lnTo>
                <a:lnTo>
                  <a:pt x="1381" y="154"/>
                </a:lnTo>
                <a:lnTo>
                  <a:pt x="1358" y="147"/>
                </a:lnTo>
                <a:lnTo>
                  <a:pt x="1336" y="140"/>
                </a:lnTo>
                <a:lnTo>
                  <a:pt x="1312" y="134"/>
                </a:lnTo>
                <a:lnTo>
                  <a:pt x="1290" y="129"/>
                </a:lnTo>
                <a:lnTo>
                  <a:pt x="1266" y="123"/>
                </a:lnTo>
                <a:lnTo>
                  <a:pt x="1242" y="118"/>
                </a:lnTo>
                <a:lnTo>
                  <a:pt x="1219" y="114"/>
                </a:lnTo>
                <a:lnTo>
                  <a:pt x="1194" y="111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5"/>
                </a:lnTo>
                <a:lnTo>
                  <a:pt x="1096" y="104"/>
                </a:lnTo>
                <a:lnTo>
                  <a:pt x="1071" y="104"/>
                </a:lnTo>
                <a:close/>
                <a:moveTo>
                  <a:pt x="1071" y="2143"/>
                </a:moveTo>
                <a:lnTo>
                  <a:pt x="1043" y="2143"/>
                </a:lnTo>
                <a:lnTo>
                  <a:pt x="1016" y="2141"/>
                </a:lnTo>
                <a:lnTo>
                  <a:pt x="989" y="2139"/>
                </a:lnTo>
                <a:lnTo>
                  <a:pt x="962" y="2137"/>
                </a:lnTo>
                <a:lnTo>
                  <a:pt x="935" y="2134"/>
                </a:lnTo>
                <a:lnTo>
                  <a:pt x="908" y="2130"/>
                </a:lnTo>
                <a:lnTo>
                  <a:pt x="882" y="2126"/>
                </a:lnTo>
                <a:lnTo>
                  <a:pt x="855" y="2121"/>
                </a:lnTo>
                <a:lnTo>
                  <a:pt x="829" y="2116"/>
                </a:lnTo>
                <a:lnTo>
                  <a:pt x="803" y="2109"/>
                </a:lnTo>
                <a:lnTo>
                  <a:pt x="779" y="2102"/>
                </a:lnTo>
                <a:lnTo>
                  <a:pt x="753" y="2094"/>
                </a:lnTo>
                <a:lnTo>
                  <a:pt x="728" y="2086"/>
                </a:lnTo>
                <a:lnTo>
                  <a:pt x="703" y="2077"/>
                </a:lnTo>
                <a:lnTo>
                  <a:pt x="679" y="2068"/>
                </a:lnTo>
                <a:lnTo>
                  <a:pt x="655" y="2058"/>
                </a:lnTo>
                <a:lnTo>
                  <a:pt x="630" y="2048"/>
                </a:lnTo>
                <a:lnTo>
                  <a:pt x="608" y="2037"/>
                </a:lnTo>
                <a:lnTo>
                  <a:pt x="584" y="2025"/>
                </a:lnTo>
                <a:lnTo>
                  <a:pt x="562" y="2013"/>
                </a:lnTo>
                <a:lnTo>
                  <a:pt x="538" y="2001"/>
                </a:lnTo>
                <a:lnTo>
                  <a:pt x="517" y="1987"/>
                </a:lnTo>
                <a:lnTo>
                  <a:pt x="494" y="1974"/>
                </a:lnTo>
                <a:lnTo>
                  <a:pt x="473" y="1959"/>
                </a:lnTo>
                <a:lnTo>
                  <a:pt x="451" y="1944"/>
                </a:lnTo>
                <a:lnTo>
                  <a:pt x="431" y="1930"/>
                </a:lnTo>
                <a:lnTo>
                  <a:pt x="411" y="1914"/>
                </a:lnTo>
                <a:lnTo>
                  <a:pt x="390" y="1898"/>
                </a:lnTo>
                <a:lnTo>
                  <a:pt x="370" y="1881"/>
                </a:lnTo>
                <a:lnTo>
                  <a:pt x="351" y="1864"/>
                </a:lnTo>
                <a:lnTo>
                  <a:pt x="333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9" y="1791"/>
                </a:lnTo>
                <a:lnTo>
                  <a:pt x="261" y="1772"/>
                </a:lnTo>
                <a:lnTo>
                  <a:pt x="245" y="1752"/>
                </a:lnTo>
                <a:lnTo>
                  <a:pt x="228" y="1733"/>
                </a:lnTo>
                <a:lnTo>
                  <a:pt x="213" y="1711"/>
                </a:lnTo>
                <a:lnTo>
                  <a:pt x="198" y="1691"/>
                </a:lnTo>
                <a:lnTo>
                  <a:pt x="183" y="1670"/>
                </a:lnTo>
                <a:lnTo>
                  <a:pt x="169" y="1648"/>
                </a:lnTo>
                <a:lnTo>
                  <a:pt x="155" y="1627"/>
                </a:lnTo>
                <a:lnTo>
                  <a:pt x="142" y="1604"/>
                </a:lnTo>
                <a:lnTo>
                  <a:pt x="129" y="1582"/>
                </a:lnTo>
                <a:lnTo>
                  <a:pt x="117" y="1558"/>
                </a:lnTo>
                <a:lnTo>
                  <a:pt x="106" y="1536"/>
                </a:lnTo>
                <a:lnTo>
                  <a:pt x="95" y="1512"/>
                </a:lnTo>
                <a:lnTo>
                  <a:pt x="84" y="1488"/>
                </a:lnTo>
                <a:lnTo>
                  <a:pt x="74" y="1464"/>
                </a:lnTo>
                <a:lnTo>
                  <a:pt x="65" y="1439"/>
                </a:lnTo>
                <a:lnTo>
                  <a:pt x="56" y="1414"/>
                </a:lnTo>
                <a:lnTo>
                  <a:pt x="48" y="1389"/>
                </a:lnTo>
                <a:lnTo>
                  <a:pt x="41" y="1365"/>
                </a:lnTo>
                <a:lnTo>
                  <a:pt x="34" y="1339"/>
                </a:lnTo>
                <a:lnTo>
                  <a:pt x="28" y="1313"/>
                </a:lnTo>
                <a:lnTo>
                  <a:pt x="21" y="1287"/>
                </a:lnTo>
                <a:lnTo>
                  <a:pt x="17" y="1261"/>
                </a:lnTo>
                <a:lnTo>
                  <a:pt x="12" y="1234"/>
                </a:lnTo>
                <a:lnTo>
                  <a:pt x="9" y="1208"/>
                </a:lnTo>
                <a:lnTo>
                  <a:pt x="6" y="1181"/>
                </a:lnTo>
                <a:lnTo>
                  <a:pt x="3" y="1154"/>
                </a:lnTo>
                <a:lnTo>
                  <a:pt x="1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1" y="1017"/>
                </a:lnTo>
                <a:lnTo>
                  <a:pt x="3" y="989"/>
                </a:lnTo>
                <a:lnTo>
                  <a:pt x="6" y="962"/>
                </a:lnTo>
                <a:lnTo>
                  <a:pt x="9" y="935"/>
                </a:lnTo>
                <a:lnTo>
                  <a:pt x="12" y="909"/>
                </a:lnTo>
                <a:lnTo>
                  <a:pt x="17" y="882"/>
                </a:lnTo>
                <a:lnTo>
                  <a:pt x="21" y="856"/>
                </a:lnTo>
                <a:lnTo>
                  <a:pt x="28" y="830"/>
                </a:lnTo>
                <a:lnTo>
                  <a:pt x="34" y="804"/>
                </a:lnTo>
                <a:lnTo>
                  <a:pt x="41" y="778"/>
                </a:lnTo>
                <a:lnTo>
                  <a:pt x="48" y="753"/>
                </a:lnTo>
                <a:lnTo>
                  <a:pt x="56" y="729"/>
                </a:lnTo>
                <a:lnTo>
                  <a:pt x="65" y="704"/>
                </a:lnTo>
                <a:lnTo>
                  <a:pt x="74" y="679"/>
                </a:lnTo>
                <a:lnTo>
                  <a:pt x="84" y="654"/>
                </a:lnTo>
                <a:lnTo>
                  <a:pt x="95" y="631"/>
                </a:lnTo>
                <a:lnTo>
                  <a:pt x="106" y="607"/>
                </a:lnTo>
                <a:lnTo>
                  <a:pt x="117" y="585"/>
                </a:lnTo>
                <a:lnTo>
                  <a:pt x="129" y="561"/>
                </a:lnTo>
                <a:lnTo>
                  <a:pt x="142" y="538"/>
                </a:lnTo>
                <a:lnTo>
                  <a:pt x="155" y="516"/>
                </a:lnTo>
                <a:lnTo>
                  <a:pt x="169" y="494"/>
                </a:lnTo>
                <a:lnTo>
                  <a:pt x="183" y="473"/>
                </a:lnTo>
                <a:lnTo>
                  <a:pt x="198" y="452"/>
                </a:lnTo>
                <a:lnTo>
                  <a:pt x="213" y="430"/>
                </a:lnTo>
                <a:lnTo>
                  <a:pt x="228" y="410"/>
                </a:lnTo>
                <a:lnTo>
                  <a:pt x="245" y="390"/>
                </a:lnTo>
                <a:lnTo>
                  <a:pt x="261" y="371"/>
                </a:lnTo>
                <a:lnTo>
                  <a:pt x="279" y="351"/>
                </a:lnTo>
                <a:lnTo>
                  <a:pt x="296" y="332"/>
                </a:lnTo>
                <a:lnTo>
                  <a:pt x="314" y="314"/>
                </a:lnTo>
                <a:lnTo>
                  <a:pt x="333" y="296"/>
                </a:lnTo>
                <a:lnTo>
                  <a:pt x="351" y="278"/>
                </a:lnTo>
                <a:lnTo>
                  <a:pt x="370" y="261"/>
                </a:lnTo>
                <a:lnTo>
                  <a:pt x="390" y="245"/>
                </a:lnTo>
                <a:lnTo>
                  <a:pt x="411" y="229"/>
                </a:lnTo>
                <a:lnTo>
                  <a:pt x="431" y="213"/>
                </a:lnTo>
                <a:lnTo>
                  <a:pt x="451" y="198"/>
                </a:lnTo>
                <a:lnTo>
                  <a:pt x="473" y="184"/>
                </a:lnTo>
                <a:lnTo>
                  <a:pt x="494" y="169"/>
                </a:lnTo>
                <a:lnTo>
                  <a:pt x="517" y="156"/>
                </a:lnTo>
                <a:lnTo>
                  <a:pt x="538" y="142"/>
                </a:lnTo>
                <a:lnTo>
                  <a:pt x="562" y="130"/>
                </a:lnTo>
                <a:lnTo>
                  <a:pt x="584" y="117"/>
                </a:lnTo>
                <a:lnTo>
                  <a:pt x="608" y="106"/>
                </a:lnTo>
                <a:lnTo>
                  <a:pt x="630" y="95"/>
                </a:lnTo>
                <a:lnTo>
                  <a:pt x="655" y="85"/>
                </a:lnTo>
                <a:lnTo>
                  <a:pt x="679" y="75"/>
                </a:lnTo>
                <a:lnTo>
                  <a:pt x="703" y="66"/>
                </a:lnTo>
                <a:lnTo>
                  <a:pt x="728" y="57"/>
                </a:lnTo>
                <a:lnTo>
                  <a:pt x="753" y="49"/>
                </a:lnTo>
                <a:lnTo>
                  <a:pt x="779" y="41"/>
                </a:lnTo>
                <a:lnTo>
                  <a:pt x="803" y="34"/>
                </a:lnTo>
                <a:lnTo>
                  <a:pt x="829" y="27"/>
                </a:lnTo>
                <a:lnTo>
                  <a:pt x="855" y="22"/>
                </a:lnTo>
                <a:lnTo>
                  <a:pt x="882" y="17"/>
                </a:lnTo>
                <a:lnTo>
                  <a:pt x="908" y="13"/>
                </a:lnTo>
                <a:lnTo>
                  <a:pt x="935" y="8"/>
                </a:lnTo>
                <a:lnTo>
                  <a:pt x="962" y="6"/>
                </a:lnTo>
                <a:lnTo>
                  <a:pt x="989" y="4"/>
                </a:lnTo>
                <a:lnTo>
                  <a:pt x="1016" y="1"/>
                </a:lnTo>
                <a:lnTo>
                  <a:pt x="1043" y="0"/>
                </a:lnTo>
                <a:lnTo>
                  <a:pt x="1071" y="0"/>
                </a:lnTo>
                <a:lnTo>
                  <a:pt x="1098" y="0"/>
                </a:lnTo>
                <a:lnTo>
                  <a:pt x="1126" y="1"/>
                </a:lnTo>
                <a:lnTo>
                  <a:pt x="1153" y="4"/>
                </a:lnTo>
                <a:lnTo>
                  <a:pt x="1180" y="6"/>
                </a:lnTo>
                <a:lnTo>
                  <a:pt x="1207" y="8"/>
                </a:lnTo>
                <a:lnTo>
                  <a:pt x="1234" y="13"/>
                </a:lnTo>
                <a:lnTo>
                  <a:pt x="1260" y="17"/>
                </a:lnTo>
                <a:lnTo>
                  <a:pt x="1286" y="22"/>
                </a:lnTo>
                <a:lnTo>
                  <a:pt x="1312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9"/>
                </a:lnTo>
                <a:lnTo>
                  <a:pt x="1415" y="57"/>
                </a:lnTo>
                <a:lnTo>
                  <a:pt x="1439" y="66"/>
                </a:lnTo>
                <a:lnTo>
                  <a:pt x="1463" y="75"/>
                </a:lnTo>
                <a:lnTo>
                  <a:pt x="1488" y="85"/>
                </a:lnTo>
                <a:lnTo>
                  <a:pt x="1511" y="95"/>
                </a:lnTo>
                <a:lnTo>
                  <a:pt x="1535" y="106"/>
                </a:lnTo>
                <a:lnTo>
                  <a:pt x="1559" y="117"/>
                </a:lnTo>
                <a:lnTo>
                  <a:pt x="1581" y="130"/>
                </a:lnTo>
                <a:lnTo>
                  <a:pt x="1604" y="142"/>
                </a:lnTo>
                <a:lnTo>
                  <a:pt x="1626" y="156"/>
                </a:lnTo>
                <a:lnTo>
                  <a:pt x="1647" y="169"/>
                </a:lnTo>
                <a:lnTo>
                  <a:pt x="1669" y="184"/>
                </a:lnTo>
                <a:lnTo>
                  <a:pt x="1690" y="198"/>
                </a:lnTo>
                <a:lnTo>
                  <a:pt x="1712" y="213"/>
                </a:lnTo>
                <a:lnTo>
                  <a:pt x="1732" y="229"/>
                </a:lnTo>
                <a:lnTo>
                  <a:pt x="1752" y="245"/>
                </a:lnTo>
                <a:lnTo>
                  <a:pt x="1771" y="261"/>
                </a:lnTo>
                <a:lnTo>
                  <a:pt x="1790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0" y="371"/>
                </a:lnTo>
                <a:lnTo>
                  <a:pt x="1897" y="390"/>
                </a:lnTo>
                <a:lnTo>
                  <a:pt x="1913" y="410"/>
                </a:lnTo>
                <a:lnTo>
                  <a:pt x="1929" y="430"/>
                </a:lnTo>
                <a:lnTo>
                  <a:pt x="1945" y="452"/>
                </a:lnTo>
                <a:lnTo>
                  <a:pt x="1959" y="473"/>
                </a:lnTo>
                <a:lnTo>
                  <a:pt x="1973" y="494"/>
                </a:lnTo>
                <a:lnTo>
                  <a:pt x="1986" y="516"/>
                </a:lnTo>
                <a:lnTo>
                  <a:pt x="2000" y="538"/>
                </a:lnTo>
                <a:lnTo>
                  <a:pt x="2012" y="561"/>
                </a:lnTo>
                <a:lnTo>
                  <a:pt x="2024" y="585"/>
                </a:lnTo>
                <a:lnTo>
                  <a:pt x="2036" y="607"/>
                </a:lnTo>
                <a:lnTo>
                  <a:pt x="2047" y="631"/>
                </a:lnTo>
                <a:lnTo>
                  <a:pt x="2058" y="654"/>
                </a:lnTo>
                <a:lnTo>
                  <a:pt x="2067" y="679"/>
                </a:lnTo>
                <a:lnTo>
                  <a:pt x="2077" y="704"/>
                </a:lnTo>
                <a:lnTo>
                  <a:pt x="2085" y="729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4" y="830"/>
                </a:lnTo>
                <a:lnTo>
                  <a:pt x="2120" y="856"/>
                </a:lnTo>
                <a:lnTo>
                  <a:pt x="2126" y="882"/>
                </a:lnTo>
                <a:lnTo>
                  <a:pt x="2129" y="909"/>
                </a:lnTo>
                <a:lnTo>
                  <a:pt x="2134" y="935"/>
                </a:lnTo>
                <a:lnTo>
                  <a:pt x="2136" y="962"/>
                </a:lnTo>
                <a:lnTo>
                  <a:pt x="2139" y="989"/>
                </a:lnTo>
                <a:lnTo>
                  <a:pt x="2140" y="1017"/>
                </a:lnTo>
                <a:lnTo>
                  <a:pt x="2141" y="1044"/>
                </a:lnTo>
                <a:lnTo>
                  <a:pt x="2141" y="1071"/>
                </a:lnTo>
                <a:lnTo>
                  <a:pt x="2141" y="1099"/>
                </a:lnTo>
                <a:lnTo>
                  <a:pt x="2140" y="1126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29" y="1234"/>
                </a:lnTo>
                <a:lnTo>
                  <a:pt x="2126" y="1261"/>
                </a:lnTo>
                <a:lnTo>
                  <a:pt x="2120" y="1287"/>
                </a:lnTo>
                <a:lnTo>
                  <a:pt x="2114" y="1313"/>
                </a:lnTo>
                <a:lnTo>
                  <a:pt x="2108" y="1339"/>
                </a:lnTo>
                <a:lnTo>
                  <a:pt x="2101" y="1365"/>
                </a:lnTo>
                <a:lnTo>
                  <a:pt x="2094" y="1389"/>
                </a:lnTo>
                <a:lnTo>
                  <a:pt x="2085" y="1414"/>
                </a:lnTo>
                <a:lnTo>
                  <a:pt x="2077" y="1439"/>
                </a:lnTo>
                <a:lnTo>
                  <a:pt x="2067" y="1464"/>
                </a:lnTo>
                <a:lnTo>
                  <a:pt x="2058" y="1488"/>
                </a:lnTo>
                <a:lnTo>
                  <a:pt x="2047" y="1512"/>
                </a:lnTo>
                <a:lnTo>
                  <a:pt x="2036" y="1536"/>
                </a:lnTo>
                <a:lnTo>
                  <a:pt x="2024" y="1558"/>
                </a:lnTo>
                <a:lnTo>
                  <a:pt x="2012" y="1582"/>
                </a:lnTo>
                <a:lnTo>
                  <a:pt x="2000" y="1604"/>
                </a:lnTo>
                <a:lnTo>
                  <a:pt x="1986" y="1627"/>
                </a:lnTo>
                <a:lnTo>
                  <a:pt x="1973" y="1648"/>
                </a:lnTo>
                <a:lnTo>
                  <a:pt x="1959" y="1670"/>
                </a:lnTo>
                <a:lnTo>
                  <a:pt x="1945" y="1691"/>
                </a:lnTo>
                <a:lnTo>
                  <a:pt x="1929" y="1711"/>
                </a:lnTo>
                <a:lnTo>
                  <a:pt x="1913" y="1733"/>
                </a:lnTo>
                <a:lnTo>
                  <a:pt x="1897" y="1752"/>
                </a:lnTo>
                <a:lnTo>
                  <a:pt x="1880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0" y="1864"/>
                </a:lnTo>
                <a:lnTo>
                  <a:pt x="1771" y="1881"/>
                </a:lnTo>
                <a:lnTo>
                  <a:pt x="1752" y="1898"/>
                </a:lnTo>
                <a:lnTo>
                  <a:pt x="1732" y="1914"/>
                </a:lnTo>
                <a:lnTo>
                  <a:pt x="1712" y="1930"/>
                </a:lnTo>
                <a:lnTo>
                  <a:pt x="1690" y="1944"/>
                </a:lnTo>
                <a:lnTo>
                  <a:pt x="1669" y="1959"/>
                </a:lnTo>
                <a:lnTo>
                  <a:pt x="1647" y="1974"/>
                </a:lnTo>
                <a:lnTo>
                  <a:pt x="1626" y="1987"/>
                </a:lnTo>
                <a:lnTo>
                  <a:pt x="1604" y="2001"/>
                </a:lnTo>
                <a:lnTo>
                  <a:pt x="1581" y="2013"/>
                </a:lnTo>
                <a:lnTo>
                  <a:pt x="1559" y="2025"/>
                </a:lnTo>
                <a:lnTo>
                  <a:pt x="1535" y="2037"/>
                </a:lnTo>
                <a:lnTo>
                  <a:pt x="1511" y="2048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5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2" y="2116"/>
                </a:lnTo>
                <a:lnTo>
                  <a:pt x="1286" y="2121"/>
                </a:lnTo>
                <a:lnTo>
                  <a:pt x="1260" y="2126"/>
                </a:lnTo>
                <a:lnTo>
                  <a:pt x="1234" y="2130"/>
                </a:lnTo>
                <a:lnTo>
                  <a:pt x="1207" y="2134"/>
                </a:lnTo>
                <a:lnTo>
                  <a:pt x="1180" y="2137"/>
                </a:lnTo>
                <a:lnTo>
                  <a:pt x="1153" y="2139"/>
                </a:lnTo>
                <a:lnTo>
                  <a:pt x="1126" y="2141"/>
                </a:lnTo>
                <a:lnTo>
                  <a:pt x="1098" y="2143"/>
                </a:lnTo>
                <a:lnTo>
                  <a:pt x="1071" y="2143"/>
                </a:lnTo>
                <a:close/>
                <a:moveTo>
                  <a:pt x="1227" y="559"/>
                </a:moveTo>
                <a:lnTo>
                  <a:pt x="1227" y="1071"/>
                </a:lnTo>
                <a:lnTo>
                  <a:pt x="1227" y="1584"/>
                </a:lnTo>
                <a:lnTo>
                  <a:pt x="1227" y="1591"/>
                </a:lnTo>
                <a:lnTo>
                  <a:pt x="1224" y="1595"/>
                </a:lnTo>
                <a:lnTo>
                  <a:pt x="1222" y="1600"/>
                </a:lnTo>
                <a:lnTo>
                  <a:pt x="1220" y="1602"/>
                </a:lnTo>
                <a:lnTo>
                  <a:pt x="1216" y="1604"/>
                </a:lnTo>
                <a:lnTo>
                  <a:pt x="1212" y="1607"/>
                </a:lnTo>
                <a:lnTo>
                  <a:pt x="1209" y="1607"/>
                </a:lnTo>
                <a:lnTo>
                  <a:pt x="1204" y="1608"/>
                </a:lnTo>
                <a:lnTo>
                  <a:pt x="1108" y="1608"/>
                </a:lnTo>
                <a:lnTo>
                  <a:pt x="1103" y="1607"/>
                </a:lnTo>
                <a:lnTo>
                  <a:pt x="1098" y="1607"/>
                </a:lnTo>
                <a:lnTo>
                  <a:pt x="1094" y="1604"/>
                </a:lnTo>
                <a:lnTo>
                  <a:pt x="1092" y="1602"/>
                </a:lnTo>
                <a:lnTo>
                  <a:pt x="1089" y="1600"/>
                </a:lnTo>
                <a:lnTo>
                  <a:pt x="1087" y="1595"/>
                </a:lnTo>
                <a:lnTo>
                  <a:pt x="1087" y="1593"/>
                </a:lnTo>
                <a:lnTo>
                  <a:pt x="1086" y="1591"/>
                </a:lnTo>
                <a:lnTo>
                  <a:pt x="1086" y="1584"/>
                </a:lnTo>
                <a:lnTo>
                  <a:pt x="1086" y="1125"/>
                </a:lnTo>
                <a:lnTo>
                  <a:pt x="1086" y="667"/>
                </a:lnTo>
                <a:lnTo>
                  <a:pt x="936" y="667"/>
                </a:lnTo>
                <a:lnTo>
                  <a:pt x="928" y="666"/>
                </a:lnTo>
                <a:lnTo>
                  <a:pt x="925" y="664"/>
                </a:lnTo>
                <a:lnTo>
                  <a:pt x="922" y="662"/>
                </a:lnTo>
                <a:lnTo>
                  <a:pt x="921" y="661"/>
                </a:lnTo>
                <a:lnTo>
                  <a:pt x="919" y="660"/>
                </a:lnTo>
                <a:lnTo>
                  <a:pt x="917" y="657"/>
                </a:lnTo>
                <a:lnTo>
                  <a:pt x="916" y="652"/>
                </a:lnTo>
                <a:lnTo>
                  <a:pt x="915" y="646"/>
                </a:lnTo>
                <a:lnTo>
                  <a:pt x="915" y="580"/>
                </a:lnTo>
                <a:lnTo>
                  <a:pt x="916" y="573"/>
                </a:lnTo>
                <a:lnTo>
                  <a:pt x="917" y="569"/>
                </a:lnTo>
                <a:lnTo>
                  <a:pt x="919" y="564"/>
                </a:lnTo>
                <a:lnTo>
                  <a:pt x="922" y="561"/>
                </a:lnTo>
                <a:lnTo>
                  <a:pt x="925" y="559"/>
                </a:lnTo>
                <a:lnTo>
                  <a:pt x="928" y="557"/>
                </a:lnTo>
                <a:lnTo>
                  <a:pt x="933" y="556"/>
                </a:lnTo>
                <a:lnTo>
                  <a:pt x="936" y="556"/>
                </a:lnTo>
                <a:lnTo>
                  <a:pt x="1205" y="535"/>
                </a:lnTo>
                <a:lnTo>
                  <a:pt x="1210" y="535"/>
                </a:lnTo>
                <a:lnTo>
                  <a:pt x="1213" y="536"/>
                </a:lnTo>
                <a:lnTo>
                  <a:pt x="1218" y="538"/>
                </a:lnTo>
                <a:lnTo>
                  <a:pt x="1220" y="539"/>
                </a:lnTo>
                <a:lnTo>
                  <a:pt x="1223" y="543"/>
                </a:lnTo>
                <a:lnTo>
                  <a:pt x="1225" y="547"/>
                </a:lnTo>
                <a:lnTo>
                  <a:pt x="1227" y="552"/>
                </a:lnTo>
                <a:lnTo>
                  <a:pt x="1227" y="55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7">
            <a:hlinkClick r:id="rId4" action="ppaction://hlinksldjump" tooltip="KONE DX class elevators"/>
            <a:extLst>
              <a:ext uri="{FF2B5EF4-FFF2-40B4-BE49-F238E27FC236}">
                <a16:creationId xmlns:a16="http://schemas.microsoft.com/office/drawing/2014/main" id="{947EA707-4F73-D842-9470-C21AD921CD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031" y="1937045"/>
            <a:ext cx="261360" cy="261360"/>
          </a:xfrm>
          <a:custGeom>
            <a:avLst/>
            <a:gdLst>
              <a:gd name="T0" fmla="*/ 806 w 2142"/>
              <a:gd name="T1" fmla="*/ 140 h 2142"/>
              <a:gd name="T2" fmla="*/ 550 w 2142"/>
              <a:gd name="T3" fmla="*/ 256 h 2142"/>
              <a:gd name="T4" fmla="*/ 340 w 2142"/>
              <a:gd name="T5" fmla="*/ 438 h 2142"/>
              <a:gd name="T6" fmla="*/ 190 w 2142"/>
              <a:gd name="T7" fmla="*/ 673 h 2142"/>
              <a:gd name="T8" fmla="*/ 112 w 2142"/>
              <a:gd name="T9" fmla="*/ 948 h 2142"/>
              <a:gd name="T10" fmla="*/ 119 w 2142"/>
              <a:gd name="T11" fmla="*/ 1242 h 2142"/>
              <a:gd name="T12" fmla="*/ 210 w 2142"/>
              <a:gd name="T13" fmla="*/ 1511 h 2142"/>
              <a:gd name="T14" fmla="*/ 371 w 2142"/>
              <a:gd name="T15" fmla="*/ 1738 h 2142"/>
              <a:gd name="T16" fmla="*/ 590 w 2142"/>
              <a:gd name="T17" fmla="*/ 1910 h 2142"/>
              <a:gd name="T18" fmla="*/ 852 w 2142"/>
              <a:gd name="T19" fmla="*/ 2014 h 2142"/>
              <a:gd name="T20" fmla="*/ 1145 w 2142"/>
              <a:gd name="T21" fmla="*/ 2036 h 2142"/>
              <a:gd name="T22" fmla="*/ 1425 w 2142"/>
              <a:gd name="T23" fmla="*/ 1971 h 2142"/>
              <a:gd name="T24" fmla="*/ 1668 w 2142"/>
              <a:gd name="T25" fmla="*/ 1832 h 2142"/>
              <a:gd name="T26" fmla="*/ 1860 w 2142"/>
              <a:gd name="T27" fmla="*/ 1631 h 2142"/>
              <a:gd name="T28" fmla="*/ 1988 w 2142"/>
              <a:gd name="T29" fmla="*/ 1381 h 2142"/>
              <a:gd name="T30" fmla="*/ 2038 w 2142"/>
              <a:gd name="T31" fmla="*/ 1095 h 2142"/>
              <a:gd name="T32" fmla="*/ 2002 w 2142"/>
              <a:gd name="T33" fmla="*/ 806 h 2142"/>
              <a:gd name="T34" fmla="*/ 1887 w 2142"/>
              <a:gd name="T35" fmla="*/ 549 h 2142"/>
              <a:gd name="T36" fmla="*/ 1704 w 2142"/>
              <a:gd name="T37" fmla="*/ 339 h 2142"/>
              <a:gd name="T38" fmla="*/ 1469 w 2142"/>
              <a:gd name="T39" fmla="*/ 188 h 2142"/>
              <a:gd name="T40" fmla="*/ 1194 w 2142"/>
              <a:gd name="T41" fmla="*/ 110 h 2142"/>
              <a:gd name="T42" fmla="*/ 909 w 2142"/>
              <a:gd name="T43" fmla="*/ 2130 h 2142"/>
              <a:gd name="T44" fmla="*/ 607 w 2142"/>
              <a:gd name="T45" fmla="*/ 2036 h 2142"/>
              <a:gd name="T46" fmla="*/ 352 w 2142"/>
              <a:gd name="T47" fmla="*/ 1863 h 2142"/>
              <a:gd name="T48" fmla="*/ 156 w 2142"/>
              <a:gd name="T49" fmla="*/ 1626 h 2142"/>
              <a:gd name="T50" fmla="*/ 34 w 2142"/>
              <a:gd name="T51" fmla="*/ 1339 h 2142"/>
              <a:gd name="T52" fmla="*/ 2 w 2142"/>
              <a:gd name="T53" fmla="*/ 1015 h 2142"/>
              <a:gd name="T54" fmla="*/ 66 w 2142"/>
              <a:gd name="T55" fmla="*/ 702 h 2142"/>
              <a:gd name="T56" fmla="*/ 213 w 2142"/>
              <a:gd name="T57" fmla="*/ 430 h 2142"/>
              <a:gd name="T58" fmla="*/ 430 w 2142"/>
              <a:gd name="T59" fmla="*/ 213 h 2142"/>
              <a:gd name="T60" fmla="*/ 704 w 2142"/>
              <a:gd name="T61" fmla="*/ 64 h 2142"/>
              <a:gd name="T62" fmla="*/ 1017 w 2142"/>
              <a:gd name="T63" fmla="*/ 1 h 2142"/>
              <a:gd name="T64" fmla="*/ 1338 w 2142"/>
              <a:gd name="T65" fmla="*/ 34 h 2142"/>
              <a:gd name="T66" fmla="*/ 1627 w 2142"/>
              <a:gd name="T67" fmla="*/ 155 h 2142"/>
              <a:gd name="T68" fmla="*/ 1864 w 2142"/>
              <a:gd name="T69" fmla="*/ 351 h 2142"/>
              <a:gd name="T70" fmla="*/ 2036 w 2142"/>
              <a:gd name="T71" fmla="*/ 607 h 2142"/>
              <a:gd name="T72" fmla="*/ 2130 w 2142"/>
              <a:gd name="T73" fmla="*/ 908 h 2142"/>
              <a:gd name="T74" fmla="*/ 2130 w 2142"/>
              <a:gd name="T75" fmla="*/ 1234 h 2142"/>
              <a:gd name="T76" fmla="*/ 2036 w 2142"/>
              <a:gd name="T77" fmla="*/ 1534 h 2142"/>
              <a:gd name="T78" fmla="*/ 1864 w 2142"/>
              <a:gd name="T79" fmla="*/ 1791 h 2142"/>
              <a:gd name="T80" fmla="*/ 1627 w 2142"/>
              <a:gd name="T81" fmla="*/ 1987 h 2142"/>
              <a:gd name="T82" fmla="*/ 1338 w 2142"/>
              <a:gd name="T83" fmla="*/ 2109 h 2142"/>
              <a:gd name="T84" fmla="*/ 1050 w 2142"/>
              <a:gd name="T85" fmla="*/ 652 h 2142"/>
              <a:gd name="T86" fmla="*/ 921 w 2142"/>
              <a:gd name="T87" fmla="*/ 696 h 2142"/>
              <a:gd name="T88" fmla="*/ 880 w 2142"/>
              <a:gd name="T89" fmla="*/ 815 h 2142"/>
              <a:gd name="T90" fmla="*/ 756 w 2142"/>
              <a:gd name="T91" fmla="*/ 798 h 2142"/>
              <a:gd name="T92" fmla="*/ 788 w 2142"/>
              <a:gd name="T93" fmla="*/ 657 h 2142"/>
              <a:gd name="T94" fmla="*/ 885 w 2142"/>
              <a:gd name="T95" fmla="*/ 564 h 2142"/>
              <a:gd name="T96" fmla="*/ 1061 w 2142"/>
              <a:gd name="T97" fmla="*/ 535 h 2142"/>
              <a:gd name="T98" fmla="*/ 1255 w 2142"/>
              <a:gd name="T99" fmla="*/ 560 h 2142"/>
              <a:gd name="T100" fmla="*/ 1362 w 2142"/>
              <a:gd name="T101" fmla="*/ 659 h 2142"/>
              <a:gd name="T102" fmla="*/ 1386 w 2142"/>
              <a:gd name="T103" fmla="*/ 821 h 2142"/>
              <a:gd name="T104" fmla="*/ 1319 w 2142"/>
              <a:gd name="T105" fmla="*/ 1003 h 2142"/>
              <a:gd name="T106" fmla="*/ 1411 w 2142"/>
              <a:gd name="T107" fmla="*/ 1492 h 2142"/>
              <a:gd name="T108" fmla="*/ 1396 w 2142"/>
              <a:gd name="T109" fmla="*/ 1606 h 2142"/>
              <a:gd name="T110" fmla="*/ 731 w 2142"/>
              <a:gd name="T111" fmla="*/ 1501 h 2142"/>
              <a:gd name="T112" fmla="*/ 1216 w 2142"/>
              <a:gd name="T113" fmla="*/ 939 h 2142"/>
              <a:gd name="T114" fmla="*/ 1246 w 2142"/>
              <a:gd name="T115" fmla="*/ 771 h 2142"/>
              <a:gd name="T116" fmla="*/ 1197 w 2142"/>
              <a:gd name="T117" fmla="*/ 678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42" h="2142">
                <a:moveTo>
                  <a:pt x="1071" y="102"/>
                </a:moveTo>
                <a:lnTo>
                  <a:pt x="1046" y="104"/>
                </a:lnTo>
                <a:lnTo>
                  <a:pt x="1021" y="104"/>
                </a:lnTo>
                <a:lnTo>
                  <a:pt x="996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4"/>
                </a:lnTo>
                <a:lnTo>
                  <a:pt x="900" y="118"/>
                </a:lnTo>
                <a:lnTo>
                  <a:pt x="876" y="123"/>
                </a:lnTo>
                <a:lnTo>
                  <a:pt x="852" y="127"/>
                </a:lnTo>
                <a:lnTo>
                  <a:pt x="830" y="133"/>
                </a:lnTo>
                <a:lnTo>
                  <a:pt x="806" y="140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6" y="170"/>
                </a:lnTo>
                <a:lnTo>
                  <a:pt x="695" y="179"/>
                </a:lnTo>
                <a:lnTo>
                  <a:pt x="673" y="188"/>
                </a:lnTo>
                <a:lnTo>
                  <a:pt x="652" y="198"/>
                </a:lnTo>
                <a:lnTo>
                  <a:pt x="631" y="209"/>
                </a:lnTo>
                <a:lnTo>
                  <a:pt x="610" y="220"/>
                </a:lnTo>
                <a:lnTo>
                  <a:pt x="590" y="231"/>
                </a:lnTo>
                <a:lnTo>
                  <a:pt x="570" y="243"/>
                </a:lnTo>
                <a:lnTo>
                  <a:pt x="550" y="256"/>
                </a:lnTo>
                <a:lnTo>
                  <a:pt x="530" y="268"/>
                </a:lnTo>
                <a:lnTo>
                  <a:pt x="511" y="281"/>
                </a:lnTo>
                <a:lnTo>
                  <a:pt x="492" y="295"/>
                </a:lnTo>
                <a:lnTo>
                  <a:pt x="474" y="310"/>
                </a:lnTo>
                <a:lnTo>
                  <a:pt x="456" y="324"/>
                </a:lnTo>
                <a:lnTo>
                  <a:pt x="438" y="339"/>
                </a:lnTo>
                <a:lnTo>
                  <a:pt x="421" y="355"/>
                </a:lnTo>
                <a:lnTo>
                  <a:pt x="403" y="370"/>
                </a:lnTo>
                <a:lnTo>
                  <a:pt x="388" y="386"/>
                </a:lnTo>
                <a:lnTo>
                  <a:pt x="371" y="403"/>
                </a:lnTo>
                <a:lnTo>
                  <a:pt x="355" y="420"/>
                </a:lnTo>
                <a:lnTo>
                  <a:pt x="340" y="438"/>
                </a:lnTo>
                <a:lnTo>
                  <a:pt x="325" y="456"/>
                </a:lnTo>
                <a:lnTo>
                  <a:pt x="310" y="474"/>
                </a:lnTo>
                <a:lnTo>
                  <a:pt x="296" y="492"/>
                </a:lnTo>
                <a:lnTo>
                  <a:pt x="282" y="511"/>
                </a:lnTo>
                <a:lnTo>
                  <a:pt x="269" y="530"/>
                </a:lnTo>
                <a:lnTo>
                  <a:pt x="256" y="549"/>
                </a:lnTo>
                <a:lnTo>
                  <a:pt x="244" y="570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90" y="673"/>
                </a:lnTo>
                <a:lnTo>
                  <a:pt x="179" y="695"/>
                </a:lnTo>
                <a:lnTo>
                  <a:pt x="170" y="716"/>
                </a:lnTo>
                <a:lnTo>
                  <a:pt x="163" y="739"/>
                </a:lnTo>
                <a:lnTo>
                  <a:pt x="155" y="761"/>
                </a:lnTo>
                <a:lnTo>
                  <a:pt x="147" y="784"/>
                </a:lnTo>
                <a:lnTo>
                  <a:pt x="140" y="806"/>
                </a:lnTo>
                <a:lnTo>
                  <a:pt x="134" y="830"/>
                </a:lnTo>
                <a:lnTo>
                  <a:pt x="129" y="852"/>
                </a:lnTo>
                <a:lnTo>
                  <a:pt x="123" y="876"/>
                </a:lnTo>
                <a:lnTo>
                  <a:pt x="119" y="899"/>
                </a:lnTo>
                <a:lnTo>
                  <a:pt x="115" y="923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1"/>
                </a:lnTo>
                <a:lnTo>
                  <a:pt x="104" y="1095"/>
                </a:lnTo>
                <a:lnTo>
                  <a:pt x="105" y="1120"/>
                </a:lnTo>
                <a:lnTo>
                  <a:pt x="106" y="1145"/>
                </a:lnTo>
                <a:lnTo>
                  <a:pt x="108" y="1170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2"/>
                </a:lnTo>
                <a:lnTo>
                  <a:pt x="123" y="1265"/>
                </a:lnTo>
                <a:lnTo>
                  <a:pt x="129" y="1289"/>
                </a:lnTo>
                <a:lnTo>
                  <a:pt x="134" y="1313"/>
                </a:lnTo>
                <a:lnTo>
                  <a:pt x="140" y="1335"/>
                </a:lnTo>
                <a:lnTo>
                  <a:pt x="147" y="1359"/>
                </a:lnTo>
                <a:lnTo>
                  <a:pt x="155" y="1381"/>
                </a:lnTo>
                <a:lnTo>
                  <a:pt x="163" y="1404"/>
                </a:lnTo>
                <a:lnTo>
                  <a:pt x="170" y="1425"/>
                </a:lnTo>
                <a:lnTo>
                  <a:pt x="179" y="1448"/>
                </a:lnTo>
                <a:lnTo>
                  <a:pt x="190" y="1469"/>
                </a:lnTo>
                <a:lnTo>
                  <a:pt x="200" y="1491"/>
                </a:lnTo>
                <a:lnTo>
                  <a:pt x="210" y="1511"/>
                </a:lnTo>
                <a:lnTo>
                  <a:pt x="221" y="1532"/>
                </a:lnTo>
                <a:lnTo>
                  <a:pt x="232" y="1552"/>
                </a:lnTo>
                <a:lnTo>
                  <a:pt x="244" y="1573"/>
                </a:lnTo>
                <a:lnTo>
                  <a:pt x="256" y="1592"/>
                </a:lnTo>
                <a:lnTo>
                  <a:pt x="269" y="1612"/>
                </a:lnTo>
                <a:lnTo>
                  <a:pt x="282" y="1631"/>
                </a:lnTo>
                <a:lnTo>
                  <a:pt x="296" y="1649"/>
                </a:lnTo>
                <a:lnTo>
                  <a:pt x="310" y="1668"/>
                </a:lnTo>
                <a:lnTo>
                  <a:pt x="325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3" y="1771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7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60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8"/>
                </a:lnTo>
                <a:lnTo>
                  <a:pt x="590" y="1910"/>
                </a:lnTo>
                <a:lnTo>
                  <a:pt x="610" y="1922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2"/>
                </a:lnTo>
                <a:lnTo>
                  <a:pt x="716" y="1971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5"/>
                </a:lnTo>
                <a:lnTo>
                  <a:pt x="806" y="2002"/>
                </a:lnTo>
                <a:lnTo>
                  <a:pt x="830" y="2008"/>
                </a:lnTo>
                <a:lnTo>
                  <a:pt x="852" y="2014"/>
                </a:lnTo>
                <a:lnTo>
                  <a:pt x="876" y="2020"/>
                </a:lnTo>
                <a:lnTo>
                  <a:pt x="900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6" y="2036"/>
                </a:lnTo>
                <a:lnTo>
                  <a:pt x="1021" y="2038"/>
                </a:lnTo>
                <a:lnTo>
                  <a:pt x="1046" y="2039"/>
                </a:lnTo>
                <a:lnTo>
                  <a:pt x="1071" y="2039"/>
                </a:lnTo>
                <a:lnTo>
                  <a:pt x="1097" y="2039"/>
                </a:lnTo>
                <a:lnTo>
                  <a:pt x="1121" y="2038"/>
                </a:lnTo>
                <a:lnTo>
                  <a:pt x="1145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2" y="2024"/>
                </a:lnTo>
                <a:lnTo>
                  <a:pt x="1265" y="2020"/>
                </a:lnTo>
                <a:lnTo>
                  <a:pt x="1289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5"/>
                </a:lnTo>
                <a:lnTo>
                  <a:pt x="1381" y="1988"/>
                </a:lnTo>
                <a:lnTo>
                  <a:pt x="1404" y="1980"/>
                </a:lnTo>
                <a:lnTo>
                  <a:pt x="1425" y="1971"/>
                </a:lnTo>
                <a:lnTo>
                  <a:pt x="1448" y="1962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2"/>
                </a:lnTo>
                <a:lnTo>
                  <a:pt x="1552" y="1910"/>
                </a:lnTo>
                <a:lnTo>
                  <a:pt x="1573" y="1898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60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7"/>
                </a:lnTo>
                <a:lnTo>
                  <a:pt x="1704" y="1802"/>
                </a:lnTo>
                <a:lnTo>
                  <a:pt x="1721" y="1787"/>
                </a:lnTo>
                <a:lnTo>
                  <a:pt x="1738" y="1771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2" y="1704"/>
                </a:lnTo>
                <a:lnTo>
                  <a:pt x="1818" y="1686"/>
                </a:lnTo>
                <a:lnTo>
                  <a:pt x="1833" y="1668"/>
                </a:lnTo>
                <a:lnTo>
                  <a:pt x="1846" y="1649"/>
                </a:lnTo>
                <a:lnTo>
                  <a:pt x="1860" y="1631"/>
                </a:lnTo>
                <a:lnTo>
                  <a:pt x="1873" y="1612"/>
                </a:lnTo>
                <a:lnTo>
                  <a:pt x="1887" y="1592"/>
                </a:lnTo>
                <a:lnTo>
                  <a:pt x="1899" y="1573"/>
                </a:lnTo>
                <a:lnTo>
                  <a:pt x="1910" y="1552"/>
                </a:lnTo>
                <a:lnTo>
                  <a:pt x="1921" y="1532"/>
                </a:lnTo>
                <a:lnTo>
                  <a:pt x="1933" y="1511"/>
                </a:lnTo>
                <a:lnTo>
                  <a:pt x="1943" y="1491"/>
                </a:lnTo>
                <a:lnTo>
                  <a:pt x="1953" y="1469"/>
                </a:lnTo>
                <a:lnTo>
                  <a:pt x="1963" y="1448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9"/>
                </a:lnTo>
                <a:lnTo>
                  <a:pt x="2002" y="1335"/>
                </a:lnTo>
                <a:lnTo>
                  <a:pt x="2008" y="1313"/>
                </a:lnTo>
                <a:lnTo>
                  <a:pt x="2014" y="1289"/>
                </a:lnTo>
                <a:lnTo>
                  <a:pt x="2019" y="1265"/>
                </a:lnTo>
                <a:lnTo>
                  <a:pt x="2024" y="1242"/>
                </a:lnTo>
                <a:lnTo>
                  <a:pt x="2027" y="1218"/>
                </a:lnTo>
                <a:lnTo>
                  <a:pt x="2031" y="1194"/>
                </a:lnTo>
                <a:lnTo>
                  <a:pt x="2034" y="1170"/>
                </a:lnTo>
                <a:lnTo>
                  <a:pt x="2036" y="1145"/>
                </a:lnTo>
                <a:lnTo>
                  <a:pt x="2037" y="1120"/>
                </a:lnTo>
                <a:lnTo>
                  <a:pt x="2038" y="1095"/>
                </a:lnTo>
                <a:lnTo>
                  <a:pt x="2038" y="1071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1" y="948"/>
                </a:lnTo>
                <a:lnTo>
                  <a:pt x="2027" y="923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2"/>
                </a:lnTo>
                <a:lnTo>
                  <a:pt x="2008" y="830"/>
                </a:lnTo>
                <a:lnTo>
                  <a:pt x="2002" y="806"/>
                </a:lnTo>
                <a:lnTo>
                  <a:pt x="1996" y="784"/>
                </a:lnTo>
                <a:lnTo>
                  <a:pt x="1988" y="761"/>
                </a:lnTo>
                <a:lnTo>
                  <a:pt x="1980" y="739"/>
                </a:lnTo>
                <a:lnTo>
                  <a:pt x="1972" y="716"/>
                </a:lnTo>
                <a:lnTo>
                  <a:pt x="1963" y="695"/>
                </a:lnTo>
                <a:lnTo>
                  <a:pt x="1953" y="673"/>
                </a:lnTo>
                <a:lnTo>
                  <a:pt x="1943" y="652"/>
                </a:lnTo>
                <a:lnTo>
                  <a:pt x="1933" y="630"/>
                </a:lnTo>
                <a:lnTo>
                  <a:pt x="1921" y="610"/>
                </a:lnTo>
                <a:lnTo>
                  <a:pt x="1910" y="590"/>
                </a:lnTo>
                <a:lnTo>
                  <a:pt x="1899" y="570"/>
                </a:lnTo>
                <a:lnTo>
                  <a:pt x="1887" y="549"/>
                </a:lnTo>
                <a:lnTo>
                  <a:pt x="1873" y="530"/>
                </a:lnTo>
                <a:lnTo>
                  <a:pt x="1860" y="511"/>
                </a:lnTo>
                <a:lnTo>
                  <a:pt x="1846" y="492"/>
                </a:lnTo>
                <a:lnTo>
                  <a:pt x="1833" y="474"/>
                </a:lnTo>
                <a:lnTo>
                  <a:pt x="1818" y="456"/>
                </a:lnTo>
                <a:lnTo>
                  <a:pt x="1802" y="438"/>
                </a:lnTo>
                <a:lnTo>
                  <a:pt x="1787" y="420"/>
                </a:lnTo>
                <a:lnTo>
                  <a:pt x="1772" y="403"/>
                </a:lnTo>
                <a:lnTo>
                  <a:pt x="1755" y="386"/>
                </a:lnTo>
                <a:lnTo>
                  <a:pt x="1738" y="370"/>
                </a:lnTo>
                <a:lnTo>
                  <a:pt x="1721" y="355"/>
                </a:lnTo>
                <a:lnTo>
                  <a:pt x="1704" y="339"/>
                </a:lnTo>
                <a:lnTo>
                  <a:pt x="1686" y="324"/>
                </a:lnTo>
                <a:lnTo>
                  <a:pt x="1668" y="310"/>
                </a:lnTo>
                <a:lnTo>
                  <a:pt x="1650" y="295"/>
                </a:lnTo>
                <a:lnTo>
                  <a:pt x="1631" y="281"/>
                </a:lnTo>
                <a:lnTo>
                  <a:pt x="1612" y="268"/>
                </a:lnTo>
                <a:lnTo>
                  <a:pt x="1593" y="256"/>
                </a:lnTo>
                <a:lnTo>
                  <a:pt x="1573" y="243"/>
                </a:lnTo>
                <a:lnTo>
                  <a:pt x="1552" y="231"/>
                </a:lnTo>
                <a:lnTo>
                  <a:pt x="1532" y="220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8"/>
                </a:lnTo>
                <a:lnTo>
                  <a:pt x="1448" y="179"/>
                </a:lnTo>
                <a:lnTo>
                  <a:pt x="1425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40"/>
                </a:lnTo>
                <a:lnTo>
                  <a:pt x="1313" y="133"/>
                </a:lnTo>
                <a:lnTo>
                  <a:pt x="1289" y="127"/>
                </a:lnTo>
                <a:lnTo>
                  <a:pt x="1265" y="123"/>
                </a:lnTo>
                <a:lnTo>
                  <a:pt x="1242" y="118"/>
                </a:lnTo>
                <a:lnTo>
                  <a:pt x="1218" y="114"/>
                </a:lnTo>
                <a:lnTo>
                  <a:pt x="1194" y="110"/>
                </a:lnTo>
                <a:lnTo>
                  <a:pt x="1170" y="108"/>
                </a:lnTo>
                <a:lnTo>
                  <a:pt x="1145" y="106"/>
                </a:lnTo>
                <a:lnTo>
                  <a:pt x="1121" y="104"/>
                </a:lnTo>
                <a:lnTo>
                  <a:pt x="1097" y="104"/>
                </a:lnTo>
                <a:lnTo>
                  <a:pt x="1071" y="102"/>
                </a:lnTo>
                <a:close/>
                <a:moveTo>
                  <a:pt x="1071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9" y="2139"/>
                </a:lnTo>
                <a:lnTo>
                  <a:pt x="961" y="2137"/>
                </a:lnTo>
                <a:lnTo>
                  <a:pt x="934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4"/>
                </a:lnTo>
                <a:lnTo>
                  <a:pt x="804" y="2109"/>
                </a:lnTo>
                <a:lnTo>
                  <a:pt x="778" y="2102"/>
                </a:lnTo>
                <a:lnTo>
                  <a:pt x="753" y="2094"/>
                </a:lnTo>
                <a:lnTo>
                  <a:pt x="729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8"/>
                </a:lnTo>
                <a:lnTo>
                  <a:pt x="607" y="2036"/>
                </a:lnTo>
                <a:lnTo>
                  <a:pt x="585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0" y="1930"/>
                </a:lnTo>
                <a:lnTo>
                  <a:pt x="410" y="1914"/>
                </a:lnTo>
                <a:lnTo>
                  <a:pt x="390" y="1897"/>
                </a:lnTo>
                <a:lnTo>
                  <a:pt x="371" y="1881"/>
                </a:lnTo>
                <a:lnTo>
                  <a:pt x="352" y="1863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2" y="1772"/>
                </a:lnTo>
                <a:lnTo>
                  <a:pt x="245" y="1752"/>
                </a:lnTo>
                <a:lnTo>
                  <a:pt x="229" y="1731"/>
                </a:lnTo>
                <a:lnTo>
                  <a:pt x="213" y="1711"/>
                </a:lnTo>
                <a:lnTo>
                  <a:pt x="199" y="1691"/>
                </a:lnTo>
                <a:lnTo>
                  <a:pt x="184" y="1670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2"/>
                </a:lnTo>
                <a:lnTo>
                  <a:pt x="118" y="1558"/>
                </a:lnTo>
                <a:lnTo>
                  <a:pt x="106" y="1534"/>
                </a:lnTo>
                <a:lnTo>
                  <a:pt x="95" y="1512"/>
                </a:lnTo>
                <a:lnTo>
                  <a:pt x="85" y="1487"/>
                </a:lnTo>
                <a:lnTo>
                  <a:pt x="75" y="1463"/>
                </a:lnTo>
                <a:lnTo>
                  <a:pt x="66" y="1439"/>
                </a:lnTo>
                <a:lnTo>
                  <a:pt x="57" y="1414"/>
                </a:lnTo>
                <a:lnTo>
                  <a:pt x="49" y="1389"/>
                </a:lnTo>
                <a:lnTo>
                  <a:pt x="41" y="1363"/>
                </a:lnTo>
                <a:lnTo>
                  <a:pt x="34" y="1339"/>
                </a:lnTo>
                <a:lnTo>
                  <a:pt x="27" y="1313"/>
                </a:lnTo>
                <a:lnTo>
                  <a:pt x="22" y="1287"/>
                </a:lnTo>
                <a:lnTo>
                  <a:pt x="17" y="1260"/>
                </a:lnTo>
                <a:lnTo>
                  <a:pt x="13" y="1234"/>
                </a:lnTo>
                <a:lnTo>
                  <a:pt x="8" y="1207"/>
                </a:lnTo>
                <a:lnTo>
                  <a:pt x="6" y="1180"/>
                </a:lnTo>
                <a:lnTo>
                  <a:pt x="4" y="1153"/>
                </a:lnTo>
                <a:lnTo>
                  <a:pt x="2" y="1126"/>
                </a:lnTo>
                <a:lnTo>
                  <a:pt x="0" y="1099"/>
                </a:lnTo>
                <a:lnTo>
                  <a:pt x="0" y="1071"/>
                </a:lnTo>
                <a:lnTo>
                  <a:pt x="0" y="1044"/>
                </a:lnTo>
                <a:lnTo>
                  <a:pt x="2" y="1015"/>
                </a:lnTo>
                <a:lnTo>
                  <a:pt x="4" y="988"/>
                </a:lnTo>
                <a:lnTo>
                  <a:pt x="6" y="961"/>
                </a:lnTo>
                <a:lnTo>
                  <a:pt x="8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6"/>
                </a:lnTo>
                <a:lnTo>
                  <a:pt x="27" y="830"/>
                </a:lnTo>
                <a:lnTo>
                  <a:pt x="34" y="804"/>
                </a:lnTo>
                <a:lnTo>
                  <a:pt x="41" y="778"/>
                </a:lnTo>
                <a:lnTo>
                  <a:pt x="49" y="753"/>
                </a:lnTo>
                <a:lnTo>
                  <a:pt x="57" y="727"/>
                </a:lnTo>
                <a:lnTo>
                  <a:pt x="66" y="702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7"/>
                </a:lnTo>
                <a:lnTo>
                  <a:pt x="118" y="583"/>
                </a:lnTo>
                <a:lnTo>
                  <a:pt x="130" y="561"/>
                </a:lnTo>
                <a:lnTo>
                  <a:pt x="142" y="538"/>
                </a:lnTo>
                <a:lnTo>
                  <a:pt x="156" y="516"/>
                </a:lnTo>
                <a:lnTo>
                  <a:pt x="169" y="494"/>
                </a:lnTo>
                <a:lnTo>
                  <a:pt x="184" y="473"/>
                </a:lnTo>
                <a:lnTo>
                  <a:pt x="199" y="451"/>
                </a:lnTo>
                <a:lnTo>
                  <a:pt x="213" y="430"/>
                </a:lnTo>
                <a:lnTo>
                  <a:pt x="229" y="410"/>
                </a:lnTo>
                <a:lnTo>
                  <a:pt x="245" y="390"/>
                </a:lnTo>
                <a:lnTo>
                  <a:pt x="262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2" y="278"/>
                </a:lnTo>
                <a:lnTo>
                  <a:pt x="371" y="261"/>
                </a:lnTo>
                <a:lnTo>
                  <a:pt x="390" y="244"/>
                </a:lnTo>
                <a:lnTo>
                  <a:pt x="410" y="229"/>
                </a:lnTo>
                <a:lnTo>
                  <a:pt x="430" y="213"/>
                </a:lnTo>
                <a:lnTo>
                  <a:pt x="452" y="197"/>
                </a:lnTo>
                <a:lnTo>
                  <a:pt x="473" y="182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5" y="117"/>
                </a:lnTo>
                <a:lnTo>
                  <a:pt x="607" y="106"/>
                </a:lnTo>
                <a:lnTo>
                  <a:pt x="631" y="95"/>
                </a:lnTo>
                <a:lnTo>
                  <a:pt x="654" y="84"/>
                </a:lnTo>
                <a:lnTo>
                  <a:pt x="679" y="74"/>
                </a:lnTo>
                <a:lnTo>
                  <a:pt x="704" y="64"/>
                </a:lnTo>
                <a:lnTo>
                  <a:pt x="729" y="56"/>
                </a:lnTo>
                <a:lnTo>
                  <a:pt x="753" y="47"/>
                </a:lnTo>
                <a:lnTo>
                  <a:pt x="778" y="41"/>
                </a:lnTo>
                <a:lnTo>
                  <a:pt x="804" y="34"/>
                </a:lnTo>
                <a:lnTo>
                  <a:pt x="830" y="27"/>
                </a:lnTo>
                <a:lnTo>
                  <a:pt x="856" y="21"/>
                </a:lnTo>
                <a:lnTo>
                  <a:pt x="882" y="16"/>
                </a:lnTo>
                <a:lnTo>
                  <a:pt x="909" y="12"/>
                </a:lnTo>
                <a:lnTo>
                  <a:pt x="934" y="8"/>
                </a:lnTo>
                <a:lnTo>
                  <a:pt x="961" y="6"/>
                </a:lnTo>
                <a:lnTo>
                  <a:pt x="989" y="2"/>
                </a:lnTo>
                <a:lnTo>
                  <a:pt x="1017" y="1"/>
                </a:lnTo>
                <a:lnTo>
                  <a:pt x="1044" y="0"/>
                </a:lnTo>
                <a:lnTo>
                  <a:pt x="1071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2"/>
                </a:lnTo>
                <a:lnTo>
                  <a:pt x="1181" y="6"/>
                </a:lnTo>
                <a:lnTo>
                  <a:pt x="1207" y="8"/>
                </a:lnTo>
                <a:lnTo>
                  <a:pt x="1234" y="12"/>
                </a:lnTo>
                <a:lnTo>
                  <a:pt x="1261" y="16"/>
                </a:lnTo>
                <a:lnTo>
                  <a:pt x="1287" y="21"/>
                </a:lnTo>
                <a:lnTo>
                  <a:pt x="1313" y="27"/>
                </a:lnTo>
                <a:lnTo>
                  <a:pt x="1338" y="34"/>
                </a:lnTo>
                <a:lnTo>
                  <a:pt x="1364" y="41"/>
                </a:lnTo>
                <a:lnTo>
                  <a:pt x="1389" y="47"/>
                </a:lnTo>
                <a:lnTo>
                  <a:pt x="1414" y="56"/>
                </a:lnTo>
                <a:lnTo>
                  <a:pt x="1439" y="64"/>
                </a:lnTo>
                <a:lnTo>
                  <a:pt x="1463" y="74"/>
                </a:lnTo>
                <a:lnTo>
                  <a:pt x="1487" y="84"/>
                </a:lnTo>
                <a:lnTo>
                  <a:pt x="1512" y="95"/>
                </a:lnTo>
                <a:lnTo>
                  <a:pt x="1535" y="106"/>
                </a:lnTo>
                <a:lnTo>
                  <a:pt x="1558" y="117"/>
                </a:lnTo>
                <a:lnTo>
                  <a:pt x="1582" y="129"/>
                </a:lnTo>
                <a:lnTo>
                  <a:pt x="1604" y="142"/>
                </a:lnTo>
                <a:lnTo>
                  <a:pt x="1627" y="155"/>
                </a:lnTo>
                <a:lnTo>
                  <a:pt x="1648" y="169"/>
                </a:lnTo>
                <a:lnTo>
                  <a:pt x="1669" y="182"/>
                </a:lnTo>
                <a:lnTo>
                  <a:pt x="1691" y="197"/>
                </a:lnTo>
                <a:lnTo>
                  <a:pt x="1711" y="213"/>
                </a:lnTo>
                <a:lnTo>
                  <a:pt x="1732" y="229"/>
                </a:lnTo>
                <a:lnTo>
                  <a:pt x="1751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7" y="390"/>
                </a:lnTo>
                <a:lnTo>
                  <a:pt x="1914" y="410"/>
                </a:lnTo>
                <a:lnTo>
                  <a:pt x="1929" y="430"/>
                </a:lnTo>
                <a:lnTo>
                  <a:pt x="1944" y="451"/>
                </a:lnTo>
                <a:lnTo>
                  <a:pt x="1959" y="473"/>
                </a:lnTo>
                <a:lnTo>
                  <a:pt x="1973" y="494"/>
                </a:lnTo>
                <a:lnTo>
                  <a:pt x="1987" y="516"/>
                </a:lnTo>
                <a:lnTo>
                  <a:pt x="2000" y="538"/>
                </a:lnTo>
                <a:lnTo>
                  <a:pt x="2013" y="561"/>
                </a:lnTo>
                <a:lnTo>
                  <a:pt x="2025" y="583"/>
                </a:lnTo>
                <a:lnTo>
                  <a:pt x="2036" y="607"/>
                </a:lnTo>
                <a:lnTo>
                  <a:pt x="2047" y="630"/>
                </a:lnTo>
                <a:lnTo>
                  <a:pt x="2058" y="654"/>
                </a:lnTo>
                <a:lnTo>
                  <a:pt x="2068" y="679"/>
                </a:lnTo>
                <a:lnTo>
                  <a:pt x="2077" y="702"/>
                </a:lnTo>
                <a:lnTo>
                  <a:pt x="2086" y="727"/>
                </a:lnTo>
                <a:lnTo>
                  <a:pt x="2094" y="753"/>
                </a:lnTo>
                <a:lnTo>
                  <a:pt x="2101" y="778"/>
                </a:lnTo>
                <a:lnTo>
                  <a:pt x="2108" y="804"/>
                </a:lnTo>
                <a:lnTo>
                  <a:pt x="2115" y="830"/>
                </a:lnTo>
                <a:lnTo>
                  <a:pt x="2121" y="856"/>
                </a:lnTo>
                <a:lnTo>
                  <a:pt x="2125" y="881"/>
                </a:lnTo>
                <a:lnTo>
                  <a:pt x="2130" y="908"/>
                </a:lnTo>
                <a:lnTo>
                  <a:pt x="2133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5"/>
                </a:lnTo>
                <a:lnTo>
                  <a:pt x="2142" y="1044"/>
                </a:lnTo>
                <a:lnTo>
                  <a:pt x="2142" y="1071"/>
                </a:lnTo>
                <a:lnTo>
                  <a:pt x="2142" y="1099"/>
                </a:lnTo>
                <a:lnTo>
                  <a:pt x="2141" y="1126"/>
                </a:lnTo>
                <a:lnTo>
                  <a:pt x="2139" y="1153"/>
                </a:lnTo>
                <a:lnTo>
                  <a:pt x="2136" y="1180"/>
                </a:lnTo>
                <a:lnTo>
                  <a:pt x="2133" y="1207"/>
                </a:lnTo>
                <a:lnTo>
                  <a:pt x="2130" y="1234"/>
                </a:lnTo>
                <a:lnTo>
                  <a:pt x="2125" y="1260"/>
                </a:lnTo>
                <a:lnTo>
                  <a:pt x="2121" y="1287"/>
                </a:lnTo>
                <a:lnTo>
                  <a:pt x="2115" y="1313"/>
                </a:lnTo>
                <a:lnTo>
                  <a:pt x="2108" y="1339"/>
                </a:lnTo>
                <a:lnTo>
                  <a:pt x="2101" y="1363"/>
                </a:lnTo>
                <a:lnTo>
                  <a:pt x="2094" y="1389"/>
                </a:lnTo>
                <a:lnTo>
                  <a:pt x="2086" y="1414"/>
                </a:lnTo>
                <a:lnTo>
                  <a:pt x="2077" y="1439"/>
                </a:lnTo>
                <a:lnTo>
                  <a:pt x="2068" y="1463"/>
                </a:lnTo>
                <a:lnTo>
                  <a:pt x="2058" y="1487"/>
                </a:lnTo>
                <a:lnTo>
                  <a:pt x="2047" y="1512"/>
                </a:lnTo>
                <a:lnTo>
                  <a:pt x="2036" y="1534"/>
                </a:lnTo>
                <a:lnTo>
                  <a:pt x="2025" y="1558"/>
                </a:lnTo>
                <a:lnTo>
                  <a:pt x="2013" y="1582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9" y="1670"/>
                </a:lnTo>
                <a:lnTo>
                  <a:pt x="1944" y="1691"/>
                </a:lnTo>
                <a:lnTo>
                  <a:pt x="1929" y="1711"/>
                </a:lnTo>
                <a:lnTo>
                  <a:pt x="1914" y="1731"/>
                </a:lnTo>
                <a:lnTo>
                  <a:pt x="1897" y="1752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3"/>
                </a:lnTo>
                <a:lnTo>
                  <a:pt x="1772" y="1881"/>
                </a:lnTo>
                <a:lnTo>
                  <a:pt x="1751" y="1897"/>
                </a:lnTo>
                <a:lnTo>
                  <a:pt x="1732" y="1914"/>
                </a:lnTo>
                <a:lnTo>
                  <a:pt x="1711" y="1930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7" y="1987"/>
                </a:lnTo>
                <a:lnTo>
                  <a:pt x="1604" y="2000"/>
                </a:lnTo>
                <a:lnTo>
                  <a:pt x="1582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8"/>
                </a:lnTo>
                <a:lnTo>
                  <a:pt x="1487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2"/>
                </a:lnTo>
                <a:lnTo>
                  <a:pt x="1338" y="2109"/>
                </a:lnTo>
                <a:lnTo>
                  <a:pt x="1313" y="2114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7" y="2133"/>
                </a:lnTo>
                <a:lnTo>
                  <a:pt x="1181" y="2137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1" y="2142"/>
                </a:lnTo>
                <a:close/>
                <a:moveTo>
                  <a:pt x="1068" y="651"/>
                </a:moveTo>
                <a:lnTo>
                  <a:pt x="1050" y="652"/>
                </a:lnTo>
                <a:lnTo>
                  <a:pt x="1035" y="652"/>
                </a:lnTo>
                <a:lnTo>
                  <a:pt x="1005" y="654"/>
                </a:lnTo>
                <a:lnTo>
                  <a:pt x="992" y="656"/>
                </a:lnTo>
                <a:lnTo>
                  <a:pt x="981" y="659"/>
                </a:lnTo>
                <a:lnTo>
                  <a:pt x="970" y="661"/>
                </a:lnTo>
                <a:lnTo>
                  <a:pt x="961" y="664"/>
                </a:lnTo>
                <a:lnTo>
                  <a:pt x="952" y="668"/>
                </a:lnTo>
                <a:lnTo>
                  <a:pt x="946" y="672"/>
                </a:lnTo>
                <a:lnTo>
                  <a:pt x="939" y="677"/>
                </a:lnTo>
                <a:lnTo>
                  <a:pt x="932" y="682"/>
                </a:lnTo>
                <a:lnTo>
                  <a:pt x="927" y="689"/>
                </a:lnTo>
                <a:lnTo>
                  <a:pt x="921" y="696"/>
                </a:lnTo>
                <a:lnTo>
                  <a:pt x="916" y="702"/>
                </a:lnTo>
                <a:lnTo>
                  <a:pt x="913" y="710"/>
                </a:lnTo>
                <a:lnTo>
                  <a:pt x="906" y="728"/>
                </a:lnTo>
                <a:lnTo>
                  <a:pt x="903" y="739"/>
                </a:lnTo>
                <a:lnTo>
                  <a:pt x="900" y="750"/>
                </a:lnTo>
                <a:lnTo>
                  <a:pt x="896" y="762"/>
                </a:lnTo>
                <a:lnTo>
                  <a:pt x="893" y="775"/>
                </a:lnTo>
                <a:lnTo>
                  <a:pt x="887" y="803"/>
                </a:lnTo>
                <a:lnTo>
                  <a:pt x="886" y="805"/>
                </a:lnTo>
                <a:lnTo>
                  <a:pt x="886" y="807"/>
                </a:lnTo>
                <a:lnTo>
                  <a:pt x="884" y="812"/>
                </a:lnTo>
                <a:lnTo>
                  <a:pt x="880" y="815"/>
                </a:lnTo>
                <a:lnTo>
                  <a:pt x="877" y="817"/>
                </a:lnTo>
                <a:lnTo>
                  <a:pt x="873" y="820"/>
                </a:lnTo>
                <a:lnTo>
                  <a:pt x="868" y="822"/>
                </a:lnTo>
                <a:lnTo>
                  <a:pt x="864" y="822"/>
                </a:lnTo>
                <a:lnTo>
                  <a:pt x="858" y="822"/>
                </a:lnTo>
                <a:lnTo>
                  <a:pt x="774" y="814"/>
                </a:lnTo>
                <a:lnTo>
                  <a:pt x="769" y="813"/>
                </a:lnTo>
                <a:lnTo>
                  <a:pt x="767" y="812"/>
                </a:lnTo>
                <a:lnTo>
                  <a:pt x="765" y="811"/>
                </a:lnTo>
                <a:lnTo>
                  <a:pt x="761" y="807"/>
                </a:lnTo>
                <a:lnTo>
                  <a:pt x="758" y="804"/>
                </a:lnTo>
                <a:lnTo>
                  <a:pt x="756" y="798"/>
                </a:lnTo>
                <a:lnTo>
                  <a:pt x="754" y="793"/>
                </a:lnTo>
                <a:lnTo>
                  <a:pt x="754" y="787"/>
                </a:lnTo>
                <a:lnTo>
                  <a:pt x="754" y="779"/>
                </a:lnTo>
                <a:lnTo>
                  <a:pt x="757" y="762"/>
                </a:lnTo>
                <a:lnTo>
                  <a:pt x="759" y="746"/>
                </a:lnTo>
                <a:lnTo>
                  <a:pt x="762" y="731"/>
                </a:lnTo>
                <a:lnTo>
                  <a:pt x="766" y="716"/>
                </a:lnTo>
                <a:lnTo>
                  <a:pt x="770" y="701"/>
                </a:lnTo>
                <a:lnTo>
                  <a:pt x="775" y="688"/>
                </a:lnTo>
                <a:lnTo>
                  <a:pt x="779" y="675"/>
                </a:lnTo>
                <a:lnTo>
                  <a:pt x="785" y="663"/>
                </a:lnTo>
                <a:lnTo>
                  <a:pt x="788" y="657"/>
                </a:lnTo>
                <a:lnTo>
                  <a:pt x="790" y="651"/>
                </a:lnTo>
                <a:lnTo>
                  <a:pt x="797" y="641"/>
                </a:lnTo>
                <a:lnTo>
                  <a:pt x="804" y="629"/>
                </a:lnTo>
                <a:lnTo>
                  <a:pt x="811" y="620"/>
                </a:lnTo>
                <a:lnTo>
                  <a:pt x="819" y="611"/>
                </a:lnTo>
                <a:lnTo>
                  <a:pt x="826" y="602"/>
                </a:lnTo>
                <a:lnTo>
                  <a:pt x="834" y="594"/>
                </a:lnTo>
                <a:lnTo>
                  <a:pt x="843" y="588"/>
                </a:lnTo>
                <a:lnTo>
                  <a:pt x="852" y="581"/>
                </a:lnTo>
                <a:lnTo>
                  <a:pt x="862" y="575"/>
                </a:lnTo>
                <a:lnTo>
                  <a:pt x="874" y="569"/>
                </a:lnTo>
                <a:lnTo>
                  <a:pt x="885" y="564"/>
                </a:lnTo>
                <a:lnTo>
                  <a:pt x="897" y="558"/>
                </a:lnTo>
                <a:lnTo>
                  <a:pt x="911" y="555"/>
                </a:lnTo>
                <a:lnTo>
                  <a:pt x="924" y="551"/>
                </a:lnTo>
                <a:lnTo>
                  <a:pt x="931" y="548"/>
                </a:lnTo>
                <a:lnTo>
                  <a:pt x="939" y="547"/>
                </a:lnTo>
                <a:lnTo>
                  <a:pt x="954" y="544"/>
                </a:lnTo>
                <a:lnTo>
                  <a:pt x="970" y="542"/>
                </a:lnTo>
                <a:lnTo>
                  <a:pt x="986" y="539"/>
                </a:lnTo>
                <a:lnTo>
                  <a:pt x="1004" y="537"/>
                </a:lnTo>
                <a:lnTo>
                  <a:pt x="1022" y="536"/>
                </a:lnTo>
                <a:lnTo>
                  <a:pt x="1041" y="535"/>
                </a:lnTo>
                <a:lnTo>
                  <a:pt x="1061" y="535"/>
                </a:lnTo>
                <a:lnTo>
                  <a:pt x="1081" y="535"/>
                </a:lnTo>
                <a:lnTo>
                  <a:pt x="1102" y="535"/>
                </a:lnTo>
                <a:lnTo>
                  <a:pt x="1122" y="536"/>
                </a:lnTo>
                <a:lnTo>
                  <a:pt x="1142" y="537"/>
                </a:lnTo>
                <a:lnTo>
                  <a:pt x="1160" y="539"/>
                </a:lnTo>
                <a:lnTo>
                  <a:pt x="1178" y="542"/>
                </a:lnTo>
                <a:lnTo>
                  <a:pt x="1194" y="544"/>
                </a:lnTo>
                <a:lnTo>
                  <a:pt x="1203" y="545"/>
                </a:lnTo>
                <a:lnTo>
                  <a:pt x="1211" y="547"/>
                </a:lnTo>
                <a:lnTo>
                  <a:pt x="1226" y="551"/>
                </a:lnTo>
                <a:lnTo>
                  <a:pt x="1241" y="555"/>
                </a:lnTo>
                <a:lnTo>
                  <a:pt x="1255" y="560"/>
                </a:lnTo>
                <a:lnTo>
                  <a:pt x="1268" y="565"/>
                </a:lnTo>
                <a:lnTo>
                  <a:pt x="1280" y="571"/>
                </a:lnTo>
                <a:lnTo>
                  <a:pt x="1291" y="578"/>
                </a:lnTo>
                <a:lnTo>
                  <a:pt x="1301" y="584"/>
                </a:lnTo>
                <a:lnTo>
                  <a:pt x="1311" y="591"/>
                </a:lnTo>
                <a:lnTo>
                  <a:pt x="1320" y="599"/>
                </a:lnTo>
                <a:lnTo>
                  <a:pt x="1328" y="608"/>
                </a:lnTo>
                <a:lnTo>
                  <a:pt x="1336" y="617"/>
                </a:lnTo>
                <a:lnTo>
                  <a:pt x="1343" y="626"/>
                </a:lnTo>
                <a:lnTo>
                  <a:pt x="1350" y="636"/>
                </a:lnTo>
                <a:lnTo>
                  <a:pt x="1356" y="647"/>
                </a:lnTo>
                <a:lnTo>
                  <a:pt x="1362" y="659"/>
                </a:lnTo>
                <a:lnTo>
                  <a:pt x="1367" y="670"/>
                </a:lnTo>
                <a:lnTo>
                  <a:pt x="1371" y="682"/>
                </a:lnTo>
                <a:lnTo>
                  <a:pt x="1374" y="695"/>
                </a:lnTo>
                <a:lnTo>
                  <a:pt x="1378" y="708"/>
                </a:lnTo>
                <a:lnTo>
                  <a:pt x="1381" y="723"/>
                </a:lnTo>
                <a:lnTo>
                  <a:pt x="1383" y="737"/>
                </a:lnTo>
                <a:lnTo>
                  <a:pt x="1385" y="752"/>
                </a:lnTo>
                <a:lnTo>
                  <a:pt x="1386" y="768"/>
                </a:lnTo>
                <a:lnTo>
                  <a:pt x="1386" y="784"/>
                </a:lnTo>
                <a:lnTo>
                  <a:pt x="1386" y="800"/>
                </a:lnTo>
                <a:lnTo>
                  <a:pt x="1386" y="811"/>
                </a:lnTo>
                <a:lnTo>
                  <a:pt x="1386" y="821"/>
                </a:lnTo>
                <a:lnTo>
                  <a:pt x="1383" y="841"/>
                </a:lnTo>
                <a:lnTo>
                  <a:pt x="1382" y="850"/>
                </a:lnTo>
                <a:lnTo>
                  <a:pt x="1380" y="860"/>
                </a:lnTo>
                <a:lnTo>
                  <a:pt x="1377" y="879"/>
                </a:lnTo>
                <a:lnTo>
                  <a:pt x="1371" y="897"/>
                </a:lnTo>
                <a:lnTo>
                  <a:pt x="1365" y="916"/>
                </a:lnTo>
                <a:lnTo>
                  <a:pt x="1358" y="934"/>
                </a:lnTo>
                <a:lnTo>
                  <a:pt x="1350" y="951"/>
                </a:lnTo>
                <a:lnTo>
                  <a:pt x="1341" y="969"/>
                </a:lnTo>
                <a:lnTo>
                  <a:pt x="1335" y="977"/>
                </a:lnTo>
                <a:lnTo>
                  <a:pt x="1331" y="986"/>
                </a:lnTo>
                <a:lnTo>
                  <a:pt x="1319" y="1003"/>
                </a:lnTo>
                <a:lnTo>
                  <a:pt x="1308" y="1020"/>
                </a:lnTo>
                <a:lnTo>
                  <a:pt x="1296" y="1037"/>
                </a:lnTo>
                <a:lnTo>
                  <a:pt x="1283" y="1054"/>
                </a:lnTo>
                <a:lnTo>
                  <a:pt x="1270" y="1071"/>
                </a:lnTo>
                <a:lnTo>
                  <a:pt x="1255" y="1086"/>
                </a:lnTo>
                <a:lnTo>
                  <a:pt x="902" y="1486"/>
                </a:lnTo>
                <a:lnTo>
                  <a:pt x="1396" y="1486"/>
                </a:lnTo>
                <a:lnTo>
                  <a:pt x="1400" y="1486"/>
                </a:lnTo>
                <a:lnTo>
                  <a:pt x="1404" y="1486"/>
                </a:lnTo>
                <a:lnTo>
                  <a:pt x="1406" y="1487"/>
                </a:lnTo>
                <a:lnTo>
                  <a:pt x="1408" y="1489"/>
                </a:lnTo>
                <a:lnTo>
                  <a:pt x="1411" y="1492"/>
                </a:lnTo>
                <a:lnTo>
                  <a:pt x="1412" y="1495"/>
                </a:lnTo>
                <a:lnTo>
                  <a:pt x="1413" y="1500"/>
                </a:lnTo>
                <a:lnTo>
                  <a:pt x="1413" y="1505"/>
                </a:lnTo>
                <a:lnTo>
                  <a:pt x="1413" y="1591"/>
                </a:lnTo>
                <a:lnTo>
                  <a:pt x="1413" y="1595"/>
                </a:lnTo>
                <a:lnTo>
                  <a:pt x="1412" y="1599"/>
                </a:lnTo>
                <a:lnTo>
                  <a:pt x="1411" y="1602"/>
                </a:lnTo>
                <a:lnTo>
                  <a:pt x="1408" y="1604"/>
                </a:lnTo>
                <a:lnTo>
                  <a:pt x="1406" y="1605"/>
                </a:lnTo>
                <a:lnTo>
                  <a:pt x="1404" y="1606"/>
                </a:lnTo>
                <a:lnTo>
                  <a:pt x="1400" y="1606"/>
                </a:lnTo>
                <a:lnTo>
                  <a:pt x="1396" y="1606"/>
                </a:lnTo>
                <a:lnTo>
                  <a:pt x="748" y="1606"/>
                </a:lnTo>
                <a:lnTo>
                  <a:pt x="744" y="1606"/>
                </a:lnTo>
                <a:lnTo>
                  <a:pt x="740" y="1606"/>
                </a:lnTo>
                <a:lnTo>
                  <a:pt x="738" y="1605"/>
                </a:lnTo>
                <a:lnTo>
                  <a:pt x="734" y="1604"/>
                </a:lnTo>
                <a:lnTo>
                  <a:pt x="732" y="1602"/>
                </a:lnTo>
                <a:lnTo>
                  <a:pt x="731" y="1599"/>
                </a:lnTo>
                <a:lnTo>
                  <a:pt x="730" y="1595"/>
                </a:lnTo>
                <a:lnTo>
                  <a:pt x="730" y="1591"/>
                </a:lnTo>
                <a:lnTo>
                  <a:pt x="730" y="1516"/>
                </a:lnTo>
                <a:lnTo>
                  <a:pt x="730" y="1509"/>
                </a:lnTo>
                <a:lnTo>
                  <a:pt x="731" y="1501"/>
                </a:lnTo>
                <a:lnTo>
                  <a:pt x="733" y="1494"/>
                </a:lnTo>
                <a:lnTo>
                  <a:pt x="735" y="1488"/>
                </a:lnTo>
                <a:lnTo>
                  <a:pt x="738" y="1483"/>
                </a:lnTo>
                <a:lnTo>
                  <a:pt x="742" y="1477"/>
                </a:lnTo>
                <a:lnTo>
                  <a:pt x="751" y="1466"/>
                </a:lnTo>
                <a:lnTo>
                  <a:pt x="1162" y="1011"/>
                </a:lnTo>
                <a:lnTo>
                  <a:pt x="1172" y="999"/>
                </a:lnTo>
                <a:lnTo>
                  <a:pt x="1183" y="986"/>
                </a:lnTo>
                <a:lnTo>
                  <a:pt x="1192" y="975"/>
                </a:lnTo>
                <a:lnTo>
                  <a:pt x="1201" y="963"/>
                </a:lnTo>
                <a:lnTo>
                  <a:pt x="1209" y="950"/>
                </a:lnTo>
                <a:lnTo>
                  <a:pt x="1216" y="939"/>
                </a:lnTo>
                <a:lnTo>
                  <a:pt x="1223" y="927"/>
                </a:lnTo>
                <a:lnTo>
                  <a:pt x="1228" y="915"/>
                </a:lnTo>
                <a:lnTo>
                  <a:pt x="1237" y="892"/>
                </a:lnTo>
                <a:lnTo>
                  <a:pt x="1241" y="880"/>
                </a:lnTo>
                <a:lnTo>
                  <a:pt x="1244" y="869"/>
                </a:lnTo>
                <a:lnTo>
                  <a:pt x="1246" y="857"/>
                </a:lnTo>
                <a:lnTo>
                  <a:pt x="1247" y="845"/>
                </a:lnTo>
                <a:lnTo>
                  <a:pt x="1248" y="834"/>
                </a:lnTo>
                <a:lnTo>
                  <a:pt x="1248" y="822"/>
                </a:lnTo>
                <a:lnTo>
                  <a:pt x="1248" y="800"/>
                </a:lnTo>
                <a:lnTo>
                  <a:pt x="1247" y="781"/>
                </a:lnTo>
                <a:lnTo>
                  <a:pt x="1246" y="771"/>
                </a:lnTo>
                <a:lnTo>
                  <a:pt x="1245" y="762"/>
                </a:lnTo>
                <a:lnTo>
                  <a:pt x="1241" y="745"/>
                </a:lnTo>
                <a:lnTo>
                  <a:pt x="1238" y="737"/>
                </a:lnTo>
                <a:lnTo>
                  <a:pt x="1236" y="730"/>
                </a:lnTo>
                <a:lnTo>
                  <a:pt x="1229" y="716"/>
                </a:lnTo>
                <a:lnTo>
                  <a:pt x="1226" y="709"/>
                </a:lnTo>
                <a:lnTo>
                  <a:pt x="1223" y="704"/>
                </a:lnTo>
                <a:lnTo>
                  <a:pt x="1218" y="698"/>
                </a:lnTo>
                <a:lnTo>
                  <a:pt x="1214" y="692"/>
                </a:lnTo>
                <a:lnTo>
                  <a:pt x="1209" y="688"/>
                </a:lnTo>
                <a:lnTo>
                  <a:pt x="1203" y="682"/>
                </a:lnTo>
                <a:lnTo>
                  <a:pt x="1197" y="678"/>
                </a:lnTo>
                <a:lnTo>
                  <a:pt x="1190" y="674"/>
                </a:lnTo>
                <a:lnTo>
                  <a:pt x="1183" y="671"/>
                </a:lnTo>
                <a:lnTo>
                  <a:pt x="1175" y="668"/>
                </a:lnTo>
                <a:lnTo>
                  <a:pt x="1167" y="664"/>
                </a:lnTo>
                <a:lnTo>
                  <a:pt x="1158" y="661"/>
                </a:lnTo>
                <a:lnTo>
                  <a:pt x="1139" y="656"/>
                </a:lnTo>
                <a:lnTo>
                  <a:pt x="1129" y="655"/>
                </a:lnTo>
                <a:lnTo>
                  <a:pt x="1118" y="654"/>
                </a:lnTo>
                <a:lnTo>
                  <a:pt x="1094" y="652"/>
                </a:lnTo>
                <a:lnTo>
                  <a:pt x="1068" y="65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8">
            <a:hlinkClick r:id="" action="ppaction://noaction"/>
            <a:extLst>
              <a:ext uri="{FF2B5EF4-FFF2-40B4-BE49-F238E27FC236}">
                <a16:creationId xmlns:a16="http://schemas.microsoft.com/office/drawing/2014/main" id="{8CA60789-627A-B64A-9342-AA42F5198E9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397" y="2288703"/>
            <a:ext cx="260994" cy="261360"/>
          </a:xfrm>
          <a:custGeom>
            <a:avLst/>
            <a:gdLst>
              <a:gd name="T0" fmla="*/ 752 w 2141"/>
              <a:gd name="T1" fmla="*/ 2095 h 2143"/>
              <a:gd name="T2" fmla="*/ 431 w 2141"/>
              <a:gd name="T3" fmla="*/ 1930 h 2143"/>
              <a:gd name="T4" fmla="*/ 183 w 2141"/>
              <a:gd name="T5" fmla="*/ 1670 h 2143"/>
              <a:gd name="T6" fmla="*/ 33 w 2141"/>
              <a:gd name="T7" fmla="*/ 1339 h 2143"/>
              <a:gd name="T8" fmla="*/ 5 w 2141"/>
              <a:gd name="T9" fmla="*/ 963 h 2143"/>
              <a:gd name="T10" fmla="*/ 105 w 2141"/>
              <a:gd name="T11" fmla="*/ 608 h 2143"/>
              <a:gd name="T12" fmla="*/ 314 w 2141"/>
              <a:gd name="T13" fmla="*/ 314 h 2143"/>
              <a:gd name="T14" fmla="*/ 606 w 2141"/>
              <a:gd name="T15" fmla="*/ 106 h 2143"/>
              <a:gd name="T16" fmla="*/ 961 w 2141"/>
              <a:gd name="T17" fmla="*/ 6 h 2143"/>
              <a:gd name="T18" fmla="*/ 1338 w 2141"/>
              <a:gd name="T19" fmla="*/ 34 h 2143"/>
              <a:gd name="T20" fmla="*/ 1668 w 2141"/>
              <a:gd name="T21" fmla="*/ 184 h 2143"/>
              <a:gd name="T22" fmla="*/ 1928 w 2141"/>
              <a:gd name="T23" fmla="*/ 432 h 2143"/>
              <a:gd name="T24" fmla="*/ 2093 w 2141"/>
              <a:gd name="T25" fmla="*/ 753 h 2143"/>
              <a:gd name="T26" fmla="*/ 2140 w 2141"/>
              <a:gd name="T27" fmla="*/ 1127 h 2143"/>
              <a:gd name="T28" fmla="*/ 2057 w 2141"/>
              <a:gd name="T29" fmla="*/ 1489 h 2143"/>
              <a:gd name="T30" fmla="*/ 1863 w 2141"/>
              <a:gd name="T31" fmla="*/ 1791 h 2143"/>
              <a:gd name="T32" fmla="*/ 1581 w 2141"/>
              <a:gd name="T33" fmla="*/ 2013 h 2143"/>
              <a:gd name="T34" fmla="*/ 1233 w 2141"/>
              <a:gd name="T35" fmla="*/ 2130 h 2143"/>
              <a:gd name="T36" fmla="*/ 924 w 2141"/>
              <a:gd name="T37" fmla="*/ 115 h 2143"/>
              <a:gd name="T38" fmla="*/ 610 w 2141"/>
              <a:gd name="T39" fmla="*/ 221 h 2143"/>
              <a:gd name="T40" fmla="*/ 354 w 2141"/>
              <a:gd name="T41" fmla="*/ 421 h 2143"/>
              <a:gd name="T42" fmla="*/ 180 w 2141"/>
              <a:gd name="T43" fmla="*/ 695 h 2143"/>
              <a:gd name="T44" fmla="*/ 104 w 2141"/>
              <a:gd name="T45" fmla="*/ 1023 h 2143"/>
              <a:gd name="T46" fmla="*/ 147 w 2141"/>
              <a:gd name="T47" fmla="*/ 1359 h 2143"/>
              <a:gd name="T48" fmla="*/ 296 w 2141"/>
              <a:gd name="T49" fmla="*/ 1651 h 2143"/>
              <a:gd name="T50" fmla="*/ 530 w 2141"/>
              <a:gd name="T51" fmla="*/ 1875 h 2143"/>
              <a:gd name="T52" fmla="*/ 829 w 2141"/>
              <a:gd name="T53" fmla="*/ 2009 h 2143"/>
              <a:gd name="T54" fmla="*/ 1169 w 2141"/>
              <a:gd name="T55" fmla="*/ 2035 h 2143"/>
              <a:gd name="T56" fmla="*/ 1490 w 2141"/>
              <a:gd name="T57" fmla="*/ 1945 h 2143"/>
              <a:gd name="T58" fmla="*/ 1754 w 2141"/>
              <a:gd name="T59" fmla="*/ 1755 h 2143"/>
              <a:gd name="T60" fmla="*/ 1943 w 2141"/>
              <a:gd name="T61" fmla="*/ 1491 h 2143"/>
              <a:gd name="T62" fmla="*/ 2033 w 2141"/>
              <a:gd name="T63" fmla="*/ 1171 h 2143"/>
              <a:gd name="T64" fmla="*/ 2007 w 2141"/>
              <a:gd name="T65" fmla="*/ 830 h 2143"/>
              <a:gd name="T66" fmla="*/ 1873 w 2141"/>
              <a:gd name="T67" fmla="*/ 531 h 2143"/>
              <a:gd name="T68" fmla="*/ 1649 w 2141"/>
              <a:gd name="T69" fmla="*/ 296 h 2143"/>
              <a:gd name="T70" fmla="*/ 1358 w 2141"/>
              <a:gd name="T71" fmla="*/ 148 h 2143"/>
              <a:gd name="T72" fmla="*/ 1078 w 2141"/>
              <a:gd name="T73" fmla="*/ 536 h 2143"/>
              <a:gd name="T74" fmla="*/ 1292 w 2141"/>
              <a:gd name="T75" fmla="*/ 582 h 2143"/>
              <a:gd name="T76" fmla="*/ 1371 w 2141"/>
              <a:gd name="T77" fmla="*/ 735 h 2143"/>
              <a:gd name="T78" fmla="*/ 1332 w 2141"/>
              <a:gd name="T79" fmla="*/ 935 h 2143"/>
              <a:gd name="T80" fmla="*/ 1349 w 2141"/>
              <a:gd name="T81" fmla="*/ 1073 h 2143"/>
              <a:gd name="T82" fmla="*/ 1414 w 2141"/>
              <a:gd name="T83" fmla="*/ 1252 h 2143"/>
              <a:gd name="T84" fmla="*/ 1367 w 2141"/>
              <a:gd name="T85" fmla="*/ 1485 h 2143"/>
              <a:gd name="T86" fmla="*/ 1250 w 2141"/>
              <a:gd name="T87" fmla="*/ 1578 h 2143"/>
              <a:gd name="T88" fmla="*/ 983 w 2141"/>
              <a:gd name="T89" fmla="*/ 1606 h 2143"/>
              <a:gd name="T90" fmla="*/ 801 w 2141"/>
              <a:gd name="T91" fmla="*/ 1544 h 2143"/>
              <a:gd name="T92" fmla="*/ 727 w 2141"/>
              <a:gd name="T93" fmla="*/ 1354 h 2143"/>
              <a:gd name="T94" fmla="*/ 846 w 2141"/>
              <a:gd name="T95" fmla="*/ 1312 h 2143"/>
              <a:gd name="T96" fmla="*/ 895 w 2141"/>
              <a:gd name="T97" fmla="*/ 1432 h 2143"/>
              <a:gd name="T98" fmla="*/ 1035 w 2141"/>
              <a:gd name="T99" fmla="*/ 1487 h 2143"/>
              <a:gd name="T100" fmla="*/ 1208 w 2141"/>
              <a:gd name="T101" fmla="*/ 1463 h 2143"/>
              <a:gd name="T102" fmla="*/ 1271 w 2141"/>
              <a:gd name="T103" fmla="*/ 1333 h 2143"/>
              <a:gd name="T104" fmla="*/ 1251 w 2141"/>
              <a:gd name="T105" fmla="*/ 1184 h 2143"/>
              <a:gd name="T106" fmla="*/ 1137 w 2141"/>
              <a:gd name="T107" fmla="*/ 1125 h 2143"/>
              <a:gd name="T108" fmla="*/ 895 w 2141"/>
              <a:gd name="T109" fmla="*/ 1020 h 2143"/>
              <a:gd name="T110" fmla="*/ 1186 w 2141"/>
              <a:gd name="T111" fmla="*/ 943 h 2143"/>
              <a:gd name="T112" fmla="*/ 1237 w 2141"/>
              <a:gd name="T113" fmla="*/ 783 h 2143"/>
              <a:gd name="T114" fmla="*/ 1179 w 2141"/>
              <a:gd name="T115" fmla="*/ 671 h 2143"/>
              <a:gd name="T116" fmla="*/ 1002 w 2141"/>
              <a:gd name="T117" fmla="*/ 654 h 2143"/>
              <a:gd name="T118" fmla="*/ 898 w 2141"/>
              <a:gd name="T119" fmla="*/ 749 h 2143"/>
              <a:gd name="T120" fmla="*/ 764 w 2141"/>
              <a:gd name="T121" fmla="*/ 809 h 2143"/>
              <a:gd name="T122" fmla="*/ 784 w 2141"/>
              <a:gd name="T123" fmla="*/ 662 h 2143"/>
              <a:gd name="T124" fmla="*/ 883 w 2141"/>
              <a:gd name="T125" fmla="*/ 564 h 2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41" h="2143">
                <a:moveTo>
                  <a:pt x="1071" y="2143"/>
                </a:moveTo>
                <a:lnTo>
                  <a:pt x="1016" y="2142"/>
                </a:lnTo>
                <a:lnTo>
                  <a:pt x="961" y="2137"/>
                </a:lnTo>
                <a:lnTo>
                  <a:pt x="908" y="2130"/>
                </a:lnTo>
                <a:lnTo>
                  <a:pt x="855" y="2121"/>
                </a:lnTo>
                <a:lnTo>
                  <a:pt x="803" y="2109"/>
                </a:lnTo>
                <a:lnTo>
                  <a:pt x="752" y="2095"/>
                </a:lnTo>
                <a:lnTo>
                  <a:pt x="703" y="2078"/>
                </a:lnTo>
                <a:lnTo>
                  <a:pt x="655" y="2059"/>
                </a:lnTo>
                <a:lnTo>
                  <a:pt x="606" y="2037"/>
                </a:lnTo>
                <a:lnTo>
                  <a:pt x="560" y="2013"/>
                </a:lnTo>
                <a:lnTo>
                  <a:pt x="516" y="1987"/>
                </a:lnTo>
                <a:lnTo>
                  <a:pt x="472" y="1960"/>
                </a:lnTo>
                <a:lnTo>
                  <a:pt x="431" y="1930"/>
                </a:lnTo>
                <a:lnTo>
                  <a:pt x="390" y="1898"/>
                </a:lnTo>
                <a:lnTo>
                  <a:pt x="351" y="1865"/>
                </a:lnTo>
                <a:lnTo>
                  <a:pt x="314" y="1829"/>
                </a:lnTo>
                <a:lnTo>
                  <a:pt x="279" y="1791"/>
                </a:lnTo>
                <a:lnTo>
                  <a:pt x="245" y="1753"/>
                </a:lnTo>
                <a:lnTo>
                  <a:pt x="212" y="1713"/>
                </a:lnTo>
                <a:lnTo>
                  <a:pt x="183" y="1670"/>
                </a:lnTo>
                <a:lnTo>
                  <a:pt x="155" y="1627"/>
                </a:lnTo>
                <a:lnTo>
                  <a:pt x="129" y="1582"/>
                </a:lnTo>
                <a:lnTo>
                  <a:pt x="105" y="1536"/>
                </a:lnTo>
                <a:lnTo>
                  <a:pt x="84" y="1489"/>
                </a:lnTo>
                <a:lnTo>
                  <a:pt x="65" y="1440"/>
                </a:lnTo>
                <a:lnTo>
                  <a:pt x="48" y="1390"/>
                </a:lnTo>
                <a:lnTo>
                  <a:pt x="33" y="1339"/>
                </a:lnTo>
                <a:lnTo>
                  <a:pt x="21" y="1287"/>
                </a:lnTo>
                <a:lnTo>
                  <a:pt x="12" y="1235"/>
                </a:lnTo>
                <a:lnTo>
                  <a:pt x="5" y="1181"/>
                </a:lnTo>
                <a:lnTo>
                  <a:pt x="1" y="1127"/>
                </a:lnTo>
                <a:lnTo>
                  <a:pt x="0" y="1072"/>
                </a:lnTo>
                <a:lnTo>
                  <a:pt x="1" y="1017"/>
                </a:lnTo>
                <a:lnTo>
                  <a:pt x="5" y="963"/>
                </a:lnTo>
                <a:lnTo>
                  <a:pt x="12" y="909"/>
                </a:lnTo>
                <a:lnTo>
                  <a:pt x="21" y="856"/>
                </a:lnTo>
                <a:lnTo>
                  <a:pt x="33" y="804"/>
                </a:lnTo>
                <a:lnTo>
                  <a:pt x="48" y="753"/>
                </a:lnTo>
                <a:lnTo>
                  <a:pt x="65" y="704"/>
                </a:lnTo>
                <a:lnTo>
                  <a:pt x="84" y="656"/>
                </a:lnTo>
                <a:lnTo>
                  <a:pt x="105" y="608"/>
                </a:lnTo>
                <a:lnTo>
                  <a:pt x="129" y="562"/>
                </a:lnTo>
                <a:lnTo>
                  <a:pt x="155" y="517"/>
                </a:lnTo>
                <a:lnTo>
                  <a:pt x="183" y="473"/>
                </a:lnTo>
                <a:lnTo>
                  <a:pt x="212" y="432"/>
                </a:lnTo>
                <a:lnTo>
                  <a:pt x="245" y="391"/>
                </a:lnTo>
                <a:lnTo>
                  <a:pt x="279" y="352"/>
                </a:lnTo>
                <a:lnTo>
                  <a:pt x="314" y="314"/>
                </a:lnTo>
                <a:lnTo>
                  <a:pt x="351" y="280"/>
                </a:lnTo>
                <a:lnTo>
                  <a:pt x="390" y="246"/>
                </a:lnTo>
                <a:lnTo>
                  <a:pt x="431" y="213"/>
                </a:lnTo>
                <a:lnTo>
                  <a:pt x="472" y="184"/>
                </a:lnTo>
                <a:lnTo>
                  <a:pt x="516" y="156"/>
                </a:lnTo>
                <a:lnTo>
                  <a:pt x="560" y="130"/>
                </a:lnTo>
                <a:lnTo>
                  <a:pt x="606" y="106"/>
                </a:lnTo>
                <a:lnTo>
                  <a:pt x="655" y="85"/>
                </a:lnTo>
                <a:lnTo>
                  <a:pt x="703" y="66"/>
                </a:lnTo>
                <a:lnTo>
                  <a:pt x="752" y="49"/>
                </a:lnTo>
                <a:lnTo>
                  <a:pt x="803" y="34"/>
                </a:lnTo>
                <a:lnTo>
                  <a:pt x="855" y="22"/>
                </a:lnTo>
                <a:lnTo>
                  <a:pt x="908" y="13"/>
                </a:lnTo>
                <a:lnTo>
                  <a:pt x="961" y="6"/>
                </a:lnTo>
                <a:lnTo>
                  <a:pt x="1016" y="1"/>
                </a:lnTo>
                <a:lnTo>
                  <a:pt x="1071" y="0"/>
                </a:lnTo>
                <a:lnTo>
                  <a:pt x="1126" y="1"/>
                </a:lnTo>
                <a:lnTo>
                  <a:pt x="1180" y="6"/>
                </a:lnTo>
                <a:lnTo>
                  <a:pt x="1233" y="13"/>
                </a:lnTo>
                <a:lnTo>
                  <a:pt x="1286" y="22"/>
                </a:lnTo>
                <a:lnTo>
                  <a:pt x="1338" y="34"/>
                </a:lnTo>
                <a:lnTo>
                  <a:pt x="1388" y="49"/>
                </a:lnTo>
                <a:lnTo>
                  <a:pt x="1439" y="66"/>
                </a:lnTo>
                <a:lnTo>
                  <a:pt x="1487" y="85"/>
                </a:lnTo>
                <a:lnTo>
                  <a:pt x="1535" y="106"/>
                </a:lnTo>
                <a:lnTo>
                  <a:pt x="1581" y="130"/>
                </a:lnTo>
                <a:lnTo>
                  <a:pt x="1626" y="156"/>
                </a:lnTo>
                <a:lnTo>
                  <a:pt x="1668" y="184"/>
                </a:lnTo>
                <a:lnTo>
                  <a:pt x="1711" y="213"/>
                </a:lnTo>
                <a:lnTo>
                  <a:pt x="1752" y="246"/>
                </a:lnTo>
                <a:lnTo>
                  <a:pt x="1790" y="280"/>
                </a:lnTo>
                <a:lnTo>
                  <a:pt x="1827" y="314"/>
                </a:lnTo>
                <a:lnTo>
                  <a:pt x="1863" y="352"/>
                </a:lnTo>
                <a:lnTo>
                  <a:pt x="1897" y="391"/>
                </a:lnTo>
                <a:lnTo>
                  <a:pt x="1928" y="432"/>
                </a:lnTo>
                <a:lnTo>
                  <a:pt x="1959" y="473"/>
                </a:lnTo>
                <a:lnTo>
                  <a:pt x="1986" y="517"/>
                </a:lnTo>
                <a:lnTo>
                  <a:pt x="2012" y="562"/>
                </a:lnTo>
                <a:lnTo>
                  <a:pt x="2035" y="608"/>
                </a:lnTo>
                <a:lnTo>
                  <a:pt x="2057" y="656"/>
                </a:lnTo>
                <a:lnTo>
                  <a:pt x="2076" y="704"/>
                </a:lnTo>
                <a:lnTo>
                  <a:pt x="2093" y="753"/>
                </a:lnTo>
                <a:lnTo>
                  <a:pt x="2107" y="804"/>
                </a:lnTo>
                <a:lnTo>
                  <a:pt x="2120" y="856"/>
                </a:lnTo>
                <a:lnTo>
                  <a:pt x="2129" y="909"/>
                </a:lnTo>
                <a:lnTo>
                  <a:pt x="2135" y="963"/>
                </a:lnTo>
                <a:lnTo>
                  <a:pt x="2140" y="1017"/>
                </a:lnTo>
                <a:lnTo>
                  <a:pt x="2141" y="1072"/>
                </a:lnTo>
                <a:lnTo>
                  <a:pt x="2140" y="1127"/>
                </a:lnTo>
                <a:lnTo>
                  <a:pt x="2135" y="1181"/>
                </a:lnTo>
                <a:lnTo>
                  <a:pt x="2129" y="1235"/>
                </a:lnTo>
                <a:lnTo>
                  <a:pt x="2120" y="1287"/>
                </a:lnTo>
                <a:lnTo>
                  <a:pt x="2107" y="1339"/>
                </a:lnTo>
                <a:lnTo>
                  <a:pt x="2093" y="1390"/>
                </a:lnTo>
                <a:lnTo>
                  <a:pt x="2076" y="1440"/>
                </a:lnTo>
                <a:lnTo>
                  <a:pt x="2057" y="1489"/>
                </a:lnTo>
                <a:lnTo>
                  <a:pt x="2035" y="1536"/>
                </a:lnTo>
                <a:lnTo>
                  <a:pt x="2012" y="1582"/>
                </a:lnTo>
                <a:lnTo>
                  <a:pt x="1986" y="1627"/>
                </a:lnTo>
                <a:lnTo>
                  <a:pt x="1959" y="1670"/>
                </a:lnTo>
                <a:lnTo>
                  <a:pt x="1928" y="1713"/>
                </a:lnTo>
                <a:lnTo>
                  <a:pt x="1897" y="1753"/>
                </a:lnTo>
                <a:lnTo>
                  <a:pt x="1863" y="1791"/>
                </a:lnTo>
                <a:lnTo>
                  <a:pt x="1827" y="1829"/>
                </a:lnTo>
                <a:lnTo>
                  <a:pt x="1790" y="1865"/>
                </a:lnTo>
                <a:lnTo>
                  <a:pt x="1752" y="1898"/>
                </a:lnTo>
                <a:lnTo>
                  <a:pt x="1711" y="1930"/>
                </a:lnTo>
                <a:lnTo>
                  <a:pt x="1668" y="1960"/>
                </a:lnTo>
                <a:lnTo>
                  <a:pt x="1626" y="1987"/>
                </a:lnTo>
                <a:lnTo>
                  <a:pt x="1581" y="2013"/>
                </a:lnTo>
                <a:lnTo>
                  <a:pt x="1535" y="2037"/>
                </a:lnTo>
                <a:lnTo>
                  <a:pt x="1487" y="2059"/>
                </a:lnTo>
                <a:lnTo>
                  <a:pt x="1439" y="2078"/>
                </a:lnTo>
                <a:lnTo>
                  <a:pt x="1388" y="2095"/>
                </a:lnTo>
                <a:lnTo>
                  <a:pt x="1338" y="2109"/>
                </a:lnTo>
                <a:lnTo>
                  <a:pt x="1286" y="2121"/>
                </a:lnTo>
                <a:lnTo>
                  <a:pt x="1233" y="2130"/>
                </a:lnTo>
                <a:lnTo>
                  <a:pt x="1180" y="2137"/>
                </a:lnTo>
                <a:lnTo>
                  <a:pt x="1126" y="2142"/>
                </a:lnTo>
                <a:lnTo>
                  <a:pt x="1071" y="2143"/>
                </a:lnTo>
                <a:close/>
                <a:moveTo>
                  <a:pt x="1071" y="104"/>
                </a:moveTo>
                <a:lnTo>
                  <a:pt x="1020" y="105"/>
                </a:lnTo>
                <a:lnTo>
                  <a:pt x="972" y="108"/>
                </a:lnTo>
                <a:lnTo>
                  <a:pt x="924" y="115"/>
                </a:lnTo>
                <a:lnTo>
                  <a:pt x="876" y="123"/>
                </a:lnTo>
                <a:lnTo>
                  <a:pt x="829" y="134"/>
                </a:lnTo>
                <a:lnTo>
                  <a:pt x="783" y="148"/>
                </a:lnTo>
                <a:lnTo>
                  <a:pt x="738" y="162"/>
                </a:lnTo>
                <a:lnTo>
                  <a:pt x="694" y="180"/>
                </a:lnTo>
                <a:lnTo>
                  <a:pt x="651" y="200"/>
                </a:lnTo>
                <a:lnTo>
                  <a:pt x="610" y="221"/>
                </a:lnTo>
                <a:lnTo>
                  <a:pt x="569" y="245"/>
                </a:lnTo>
                <a:lnTo>
                  <a:pt x="530" y="269"/>
                </a:lnTo>
                <a:lnTo>
                  <a:pt x="493" y="296"/>
                </a:lnTo>
                <a:lnTo>
                  <a:pt x="455" y="325"/>
                </a:lnTo>
                <a:lnTo>
                  <a:pt x="420" y="356"/>
                </a:lnTo>
                <a:lnTo>
                  <a:pt x="387" y="388"/>
                </a:lnTo>
                <a:lnTo>
                  <a:pt x="354" y="421"/>
                </a:lnTo>
                <a:lnTo>
                  <a:pt x="324" y="456"/>
                </a:lnTo>
                <a:lnTo>
                  <a:pt x="296" y="493"/>
                </a:lnTo>
                <a:lnTo>
                  <a:pt x="269" y="531"/>
                </a:lnTo>
                <a:lnTo>
                  <a:pt x="244" y="570"/>
                </a:lnTo>
                <a:lnTo>
                  <a:pt x="220" y="611"/>
                </a:lnTo>
                <a:lnTo>
                  <a:pt x="199" y="652"/>
                </a:lnTo>
                <a:lnTo>
                  <a:pt x="180" y="695"/>
                </a:lnTo>
                <a:lnTo>
                  <a:pt x="162" y="739"/>
                </a:lnTo>
                <a:lnTo>
                  <a:pt x="147" y="784"/>
                </a:lnTo>
                <a:lnTo>
                  <a:pt x="134" y="830"/>
                </a:lnTo>
                <a:lnTo>
                  <a:pt x="122" y="877"/>
                </a:lnTo>
                <a:lnTo>
                  <a:pt x="114" y="925"/>
                </a:lnTo>
                <a:lnTo>
                  <a:pt x="108" y="973"/>
                </a:lnTo>
                <a:lnTo>
                  <a:pt x="104" y="1023"/>
                </a:lnTo>
                <a:lnTo>
                  <a:pt x="103" y="1072"/>
                </a:lnTo>
                <a:lnTo>
                  <a:pt x="104" y="1122"/>
                </a:lnTo>
                <a:lnTo>
                  <a:pt x="108" y="1171"/>
                </a:lnTo>
                <a:lnTo>
                  <a:pt x="114" y="1220"/>
                </a:lnTo>
                <a:lnTo>
                  <a:pt x="122" y="1267"/>
                </a:lnTo>
                <a:lnTo>
                  <a:pt x="134" y="1313"/>
                </a:lnTo>
                <a:lnTo>
                  <a:pt x="147" y="1359"/>
                </a:lnTo>
                <a:lnTo>
                  <a:pt x="162" y="1404"/>
                </a:lnTo>
                <a:lnTo>
                  <a:pt x="180" y="1448"/>
                </a:lnTo>
                <a:lnTo>
                  <a:pt x="199" y="1491"/>
                </a:lnTo>
                <a:lnTo>
                  <a:pt x="220" y="1533"/>
                </a:lnTo>
                <a:lnTo>
                  <a:pt x="244" y="1573"/>
                </a:lnTo>
                <a:lnTo>
                  <a:pt x="269" y="1612"/>
                </a:lnTo>
                <a:lnTo>
                  <a:pt x="296" y="1651"/>
                </a:lnTo>
                <a:lnTo>
                  <a:pt x="324" y="1687"/>
                </a:lnTo>
                <a:lnTo>
                  <a:pt x="354" y="1723"/>
                </a:lnTo>
                <a:lnTo>
                  <a:pt x="387" y="1755"/>
                </a:lnTo>
                <a:lnTo>
                  <a:pt x="420" y="1788"/>
                </a:lnTo>
                <a:lnTo>
                  <a:pt x="455" y="1818"/>
                </a:lnTo>
                <a:lnTo>
                  <a:pt x="493" y="1848"/>
                </a:lnTo>
                <a:lnTo>
                  <a:pt x="530" y="1875"/>
                </a:lnTo>
                <a:lnTo>
                  <a:pt x="569" y="1900"/>
                </a:lnTo>
                <a:lnTo>
                  <a:pt x="610" y="1923"/>
                </a:lnTo>
                <a:lnTo>
                  <a:pt x="651" y="1945"/>
                </a:lnTo>
                <a:lnTo>
                  <a:pt x="694" y="1964"/>
                </a:lnTo>
                <a:lnTo>
                  <a:pt x="738" y="1981"/>
                </a:lnTo>
                <a:lnTo>
                  <a:pt x="783" y="1996"/>
                </a:lnTo>
                <a:lnTo>
                  <a:pt x="829" y="2009"/>
                </a:lnTo>
                <a:lnTo>
                  <a:pt x="876" y="2020"/>
                </a:lnTo>
                <a:lnTo>
                  <a:pt x="924" y="2029"/>
                </a:lnTo>
                <a:lnTo>
                  <a:pt x="972" y="2035"/>
                </a:lnTo>
                <a:lnTo>
                  <a:pt x="1020" y="2038"/>
                </a:lnTo>
                <a:lnTo>
                  <a:pt x="1071" y="2040"/>
                </a:lnTo>
                <a:lnTo>
                  <a:pt x="1120" y="2038"/>
                </a:lnTo>
                <a:lnTo>
                  <a:pt x="1169" y="2035"/>
                </a:lnTo>
                <a:lnTo>
                  <a:pt x="1217" y="2029"/>
                </a:lnTo>
                <a:lnTo>
                  <a:pt x="1266" y="2020"/>
                </a:lnTo>
                <a:lnTo>
                  <a:pt x="1312" y="2009"/>
                </a:lnTo>
                <a:lnTo>
                  <a:pt x="1358" y="1996"/>
                </a:lnTo>
                <a:lnTo>
                  <a:pt x="1403" y="1981"/>
                </a:lnTo>
                <a:lnTo>
                  <a:pt x="1447" y="1964"/>
                </a:lnTo>
                <a:lnTo>
                  <a:pt x="1490" y="1945"/>
                </a:lnTo>
                <a:lnTo>
                  <a:pt x="1531" y="1923"/>
                </a:lnTo>
                <a:lnTo>
                  <a:pt x="1572" y="1900"/>
                </a:lnTo>
                <a:lnTo>
                  <a:pt x="1611" y="1875"/>
                </a:lnTo>
                <a:lnTo>
                  <a:pt x="1649" y="1848"/>
                </a:lnTo>
                <a:lnTo>
                  <a:pt x="1685" y="1818"/>
                </a:lnTo>
                <a:lnTo>
                  <a:pt x="1721" y="1788"/>
                </a:lnTo>
                <a:lnTo>
                  <a:pt x="1754" y="1755"/>
                </a:lnTo>
                <a:lnTo>
                  <a:pt x="1787" y="1723"/>
                </a:lnTo>
                <a:lnTo>
                  <a:pt x="1817" y="1687"/>
                </a:lnTo>
                <a:lnTo>
                  <a:pt x="1846" y="1651"/>
                </a:lnTo>
                <a:lnTo>
                  <a:pt x="1873" y="1612"/>
                </a:lnTo>
                <a:lnTo>
                  <a:pt x="1898" y="1573"/>
                </a:lnTo>
                <a:lnTo>
                  <a:pt x="1922" y="1533"/>
                </a:lnTo>
                <a:lnTo>
                  <a:pt x="1943" y="1491"/>
                </a:lnTo>
                <a:lnTo>
                  <a:pt x="1962" y="1448"/>
                </a:lnTo>
                <a:lnTo>
                  <a:pt x="1979" y="1404"/>
                </a:lnTo>
                <a:lnTo>
                  <a:pt x="1995" y="1359"/>
                </a:lnTo>
                <a:lnTo>
                  <a:pt x="2007" y="1313"/>
                </a:lnTo>
                <a:lnTo>
                  <a:pt x="2018" y="1267"/>
                </a:lnTo>
                <a:lnTo>
                  <a:pt x="2027" y="1220"/>
                </a:lnTo>
                <a:lnTo>
                  <a:pt x="2033" y="1171"/>
                </a:lnTo>
                <a:lnTo>
                  <a:pt x="2036" y="1122"/>
                </a:lnTo>
                <a:lnTo>
                  <a:pt x="2039" y="1072"/>
                </a:lnTo>
                <a:lnTo>
                  <a:pt x="2036" y="1023"/>
                </a:lnTo>
                <a:lnTo>
                  <a:pt x="2033" y="973"/>
                </a:lnTo>
                <a:lnTo>
                  <a:pt x="2027" y="925"/>
                </a:lnTo>
                <a:lnTo>
                  <a:pt x="2018" y="877"/>
                </a:lnTo>
                <a:lnTo>
                  <a:pt x="2007" y="830"/>
                </a:lnTo>
                <a:lnTo>
                  <a:pt x="1995" y="784"/>
                </a:lnTo>
                <a:lnTo>
                  <a:pt x="1979" y="739"/>
                </a:lnTo>
                <a:lnTo>
                  <a:pt x="1962" y="695"/>
                </a:lnTo>
                <a:lnTo>
                  <a:pt x="1943" y="652"/>
                </a:lnTo>
                <a:lnTo>
                  <a:pt x="1922" y="611"/>
                </a:lnTo>
                <a:lnTo>
                  <a:pt x="1898" y="570"/>
                </a:lnTo>
                <a:lnTo>
                  <a:pt x="1873" y="531"/>
                </a:lnTo>
                <a:lnTo>
                  <a:pt x="1846" y="493"/>
                </a:lnTo>
                <a:lnTo>
                  <a:pt x="1817" y="456"/>
                </a:lnTo>
                <a:lnTo>
                  <a:pt x="1787" y="421"/>
                </a:lnTo>
                <a:lnTo>
                  <a:pt x="1754" y="388"/>
                </a:lnTo>
                <a:lnTo>
                  <a:pt x="1721" y="356"/>
                </a:lnTo>
                <a:lnTo>
                  <a:pt x="1685" y="325"/>
                </a:lnTo>
                <a:lnTo>
                  <a:pt x="1649" y="296"/>
                </a:lnTo>
                <a:lnTo>
                  <a:pt x="1611" y="269"/>
                </a:lnTo>
                <a:lnTo>
                  <a:pt x="1572" y="245"/>
                </a:lnTo>
                <a:lnTo>
                  <a:pt x="1531" y="221"/>
                </a:lnTo>
                <a:lnTo>
                  <a:pt x="1490" y="200"/>
                </a:lnTo>
                <a:lnTo>
                  <a:pt x="1447" y="180"/>
                </a:lnTo>
                <a:lnTo>
                  <a:pt x="1403" y="162"/>
                </a:lnTo>
                <a:lnTo>
                  <a:pt x="1358" y="148"/>
                </a:lnTo>
                <a:lnTo>
                  <a:pt x="1312" y="134"/>
                </a:lnTo>
                <a:lnTo>
                  <a:pt x="1266" y="123"/>
                </a:lnTo>
                <a:lnTo>
                  <a:pt x="1217" y="115"/>
                </a:lnTo>
                <a:lnTo>
                  <a:pt x="1169" y="108"/>
                </a:lnTo>
                <a:lnTo>
                  <a:pt x="1120" y="105"/>
                </a:lnTo>
                <a:lnTo>
                  <a:pt x="1071" y="104"/>
                </a:lnTo>
                <a:close/>
                <a:moveTo>
                  <a:pt x="1078" y="536"/>
                </a:moveTo>
                <a:lnTo>
                  <a:pt x="1117" y="536"/>
                </a:lnTo>
                <a:lnTo>
                  <a:pt x="1154" y="540"/>
                </a:lnTo>
                <a:lnTo>
                  <a:pt x="1188" y="544"/>
                </a:lnTo>
                <a:lnTo>
                  <a:pt x="1218" y="551"/>
                </a:lnTo>
                <a:lnTo>
                  <a:pt x="1246" y="560"/>
                </a:lnTo>
                <a:lnTo>
                  <a:pt x="1270" y="570"/>
                </a:lnTo>
                <a:lnTo>
                  <a:pt x="1292" y="582"/>
                </a:lnTo>
                <a:lnTo>
                  <a:pt x="1311" y="597"/>
                </a:lnTo>
                <a:lnTo>
                  <a:pt x="1326" y="615"/>
                </a:lnTo>
                <a:lnTo>
                  <a:pt x="1340" y="634"/>
                </a:lnTo>
                <a:lnTo>
                  <a:pt x="1351" y="656"/>
                </a:lnTo>
                <a:lnTo>
                  <a:pt x="1360" y="680"/>
                </a:lnTo>
                <a:lnTo>
                  <a:pt x="1367" y="706"/>
                </a:lnTo>
                <a:lnTo>
                  <a:pt x="1371" y="735"/>
                </a:lnTo>
                <a:lnTo>
                  <a:pt x="1375" y="767"/>
                </a:lnTo>
                <a:lnTo>
                  <a:pt x="1375" y="801"/>
                </a:lnTo>
                <a:lnTo>
                  <a:pt x="1374" y="831"/>
                </a:lnTo>
                <a:lnTo>
                  <a:pt x="1368" y="859"/>
                </a:lnTo>
                <a:lnTo>
                  <a:pt x="1360" y="886"/>
                </a:lnTo>
                <a:lnTo>
                  <a:pt x="1348" y="910"/>
                </a:lnTo>
                <a:lnTo>
                  <a:pt x="1332" y="935"/>
                </a:lnTo>
                <a:lnTo>
                  <a:pt x="1312" y="962"/>
                </a:lnTo>
                <a:lnTo>
                  <a:pt x="1286" y="989"/>
                </a:lnTo>
                <a:lnTo>
                  <a:pt x="1257" y="1019"/>
                </a:lnTo>
                <a:lnTo>
                  <a:pt x="1290" y="1032"/>
                </a:lnTo>
                <a:lnTo>
                  <a:pt x="1322" y="1050"/>
                </a:lnTo>
                <a:lnTo>
                  <a:pt x="1335" y="1061"/>
                </a:lnTo>
                <a:lnTo>
                  <a:pt x="1349" y="1073"/>
                </a:lnTo>
                <a:lnTo>
                  <a:pt x="1371" y="1101"/>
                </a:lnTo>
                <a:lnTo>
                  <a:pt x="1391" y="1135"/>
                </a:lnTo>
                <a:lnTo>
                  <a:pt x="1398" y="1155"/>
                </a:lnTo>
                <a:lnTo>
                  <a:pt x="1404" y="1177"/>
                </a:lnTo>
                <a:lnTo>
                  <a:pt x="1409" y="1200"/>
                </a:lnTo>
                <a:lnTo>
                  <a:pt x="1412" y="1225"/>
                </a:lnTo>
                <a:lnTo>
                  <a:pt x="1414" y="1252"/>
                </a:lnTo>
                <a:lnTo>
                  <a:pt x="1415" y="1280"/>
                </a:lnTo>
                <a:lnTo>
                  <a:pt x="1414" y="1322"/>
                </a:lnTo>
                <a:lnTo>
                  <a:pt x="1411" y="1360"/>
                </a:lnTo>
                <a:lnTo>
                  <a:pt x="1404" y="1396"/>
                </a:lnTo>
                <a:lnTo>
                  <a:pt x="1394" y="1429"/>
                </a:lnTo>
                <a:lnTo>
                  <a:pt x="1382" y="1458"/>
                </a:lnTo>
                <a:lnTo>
                  <a:pt x="1367" y="1485"/>
                </a:lnTo>
                <a:lnTo>
                  <a:pt x="1358" y="1498"/>
                </a:lnTo>
                <a:lnTo>
                  <a:pt x="1349" y="1509"/>
                </a:lnTo>
                <a:lnTo>
                  <a:pt x="1329" y="1530"/>
                </a:lnTo>
                <a:lnTo>
                  <a:pt x="1317" y="1539"/>
                </a:lnTo>
                <a:lnTo>
                  <a:pt x="1305" y="1548"/>
                </a:lnTo>
                <a:lnTo>
                  <a:pt x="1279" y="1564"/>
                </a:lnTo>
                <a:lnTo>
                  <a:pt x="1250" y="1578"/>
                </a:lnTo>
                <a:lnTo>
                  <a:pt x="1218" y="1589"/>
                </a:lnTo>
                <a:lnTo>
                  <a:pt x="1183" y="1598"/>
                </a:lnTo>
                <a:lnTo>
                  <a:pt x="1145" y="1603"/>
                </a:lnTo>
                <a:lnTo>
                  <a:pt x="1105" y="1607"/>
                </a:lnTo>
                <a:lnTo>
                  <a:pt x="1061" y="1608"/>
                </a:lnTo>
                <a:lnTo>
                  <a:pt x="1021" y="1608"/>
                </a:lnTo>
                <a:lnTo>
                  <a:pt x="983" y="1606"/>
                </a:lnTo>
                <a:lnTo>
                  <a:pt x="949" y="1602"/>
                </a:lnTo>
                <a:lnTo>
                  <a:pt x="917" y="1598"/>
                </a:lnTo>
                <a:lnTo>
                  <a:pt x="889" y="1590"/>
                </a:lnTo>
                <a:lnTo>
                  <a:pt x="863" y="1582"/>
                </a:lnTo>
                <a:lnTo>
                  <a:pt x="839" y="1571"/>
                </a:lnTo>
                <a:lnTo>
                  <a:pt x="819" y="1558"/>
                </a:lnTo>
                <a:lnTo>
                  <a:pt x="801" y="1544"/>
                </a:lnTo>
                <a:lnTo>
                  <a:pt x="785" y="1527"/>
                </a:lnTo>
                <a:lnTo>
                  <a:pt x="770" y="1505"/>
                </a:lnTo>
                <a:lnTo>
                  <a:pt x="758" y="1482"/>
                </a:lnTo>
                <a:lnTo>
                  <a:pt x="747" y="1455"/>
                </a:lnTo>
                <a:lnTo>
                  <a:pt x="738" y="1424"/>
                </a:lnTo>
                <a:lnTo>
                  <a:pt x="731" y="1391"/>
                </a:lnTo>
                <a:lnTo>
                  <a:pt x="727" y="1354"/>
                </a:lnTo>
                <a:lnTo>
                  <a:pt x="725" y="1341"/>
                </a:lnTo>
                <a:lnTo>
                  <a:pt x="727" y="1336"/>
                </a:lnTo>
                <a:lnTo>
                  <a:pt x="729" y="1330"/>
                </a:lnTo>
                <a:lnTo>
                  <a:pt x="736" y="1324"/>
                </a:lnTo>
                <a:lnTo>
                  <a:pt x="746" y="1322"/>
                </a:lnTo>
                <a:lnTo>
                  <a:pt x="837" y="1312"/>
                </a:lnTo>
                <a:lnTo>
                  <a:pt x="846" y="1312"/>
                </a:lnTo>
                <a:lnTo>
                  <a:pt x="855" y="1316"/>
                </a:lnTo>
                <a:lnTo>
                  <a:pt x="862" y="1323"/>
                </a:lnTo>
                <a:lnTo>
                  <a:pt x="865" y="1333"/>
                </a:lnTo>
                <a:lnTo>
                  <a:pt x="872" y="1364"/>
                </a:lnTo>
                <a:lnTo>
                  <a:pt x="879" y="1391"/>
                </a:lnTo>
                <a:lnTo>
                  <a:pt x="886" y="1413"/>
                </a:lnTo>
                <a:lnTo>
                  <a:pt x="895" y="1432"/>
                </a:lnTo>
                <a:lnTo>
                  <a:pt x="906" y="1448"/>
                </a:lnTo>
                <a:lnTo>
                  <a:pt x="918" y="1460"/>
                </a:lnTo>
                <a:lnTo>
                  <a:pt x="934" y="1471"/>
                </a:lnTo>
                <a:lnTo>
                  <a:pt x="952" y="1477"/>
                </a:lnTo>
                <a:lnTo>
                  <a:pt x="974" y="1482"/>
                </a:lnTo>
                <a:lnTo>
                  <a:pt x="1002" y="1485"/>
                </a:lnTo>
                <a:lnTo>
                  <a:pt x="1035" y="1487"/>
                </a:lnTo>
                <a:lnTo>
                  <a:pt x="1073" y="1487"/>
                </a:lnTo>
                <a:lnTo>
                  <a:pt x="1101" y="1487"/>
                </a:lnTo>
                <a:lnTo>
                  <a:pt x="1128" y="1485"/>
                </a:lnTo>
                <a:lnTo>
                  <a:pt x="1152" y="1482"/>
                </a:lnTo>
                <a:lnTo>
                  <a:pt x="1173" y="1476"/>
                </a:lnTo>
                <a:lnTo>
                  <a:pt x="1192" y="1471"/>
                </a:lnTo>
                <a:lnTo>
                  <a:pt x="1208" y="1463"/>
                </a:lnTo>
                <a:lnTo>
                  <a:pt x="1223" y="1453"/>
                </a:lnTo>
                <a:lnTo>
                  <a:pt x="1234" y="1441"/>
                </a:lnTo>
                <a:lnTo>
                  <a:pt x="1244" y="1429"/>
                </a:lnTo>
                <a:lnTo>
                  <a:pt x="1252" y="1413"/>
                </a:lnTo>
                <a:lnTo>
                  <a:pt x="1264" y="1377"/>
                </a:lnTo>
                <a:lnTo>
                  <a:pt x="1269" y="1357"/>
                </a:lnTo>
                <a:lnTo>
                  <a:pt x="1271" y="1333"/>
                </a:lnTo>
                <a:lnTo>
                  <a:pt x="1272" y="1308"/>
                </a:lnTo>
                <a:lnTo>
                  <a:pt x="1272" y="1280"/>
                </a:lnTo>
                <a:lnTo>
                  <a:pt x="1272" y="1261"/>
                </a:lnTo>
                <a:lnTo>
                  <a:pt x="1271" y="1243"/>
                </a:lnTo>
                <a:lnTo>
                  <a:pt x="1268" y="1226"/>
                </a:lnTo>
                <a:lnTo>
                  <a:pt x="1263" y="1211"/>
                </a:lnTo>
                <a:lnTo>
                  <a:pt x="1251" y="1184"/>
                </a:lnTo>
                <a:lnTo>
                  <a:pt x="1243" y="1172"/>
                </a:lnTo>
                <a:lnTo>
                  <a:pt x="1234" y="1161"/>
                </a:lnTo>
                <a:lnTo>
                  <a:pt x="1223" y="1152"/>
                </a:lnTo>
                <a:lnTo>
                  <a:pt x="1209" y="1144"/>
                </a:lnTo>
                <a:lnTo>
                  <a:pt x="1178" y="1133"/>
                </a:lnTo>
                <a:lnTo>
                  <a:pt x="1159" y="1128"/>
                </a:lnTo>
                <a:lnTo>
                  <a:pt x="1137" y="1125"/>
                </a:lnTo>
                <a:lnTo>
                  <a:pt x="1089" y="1123"/>
                </a:lnTo>
                <a:lnTo>
                  <a:pt x="913" y="1123"/>
                </a:lnTo>
                <a:lnTo>
                  <a:pt x="906" y="1123"/>
                </a:lnTo>
                <a:lnTo>
                  <a:pt x="900" y="1119"/>
                </a:lnTo>
                <a:lnTo>
                  <a:pt x="897" y="1115"/>
                </a:lnTo>
                <a:lnTo>
                  <a:pt x="895" y="1107"/>
                </a:lnTo>
                <a:lnTo>
                  <a:pt x="895" y="1020"/>
                </a:lnTo>
                <a:lnTo>
                  <a:pt x="897" y="1011"/>
                </a:lnTo>
                <a:lnTo>
                  <a:pt x="900" y="1006"/>
                </a:lnTo>
                <a:lnTo>
                  <a:pt x="906" y="1003"/>
                </a:lnTo>
                <a:lnTo>
                  <a:pt x="913" y="1002"/>
                </a:lnTo>
                <a:lnTo>
                  <a:pt x="1132" y="1002"/>
                </a:lnTo>
                <a:lnTo>
                  <a:pt x="1161" y="971"/>
                </a:lnTo>
                <a:lnTo>
                  <a:pt x="1186" y="943"/>
                </a:lnTo>
                <a:lnTo>
                  <a:pt x="1205" y="919"/>
                </a:lnTo>
                <a:lnTo>
                  <a:pt x="1218" y="899"/>
                </a:lnTo>
                <a:lnTo>
                  <a:pt x="1227" y="881"/>
                </a:lnTo>
                <a:lnTo>
                  <a:pt x="1234" y="862"/>
                </a:lnTo>
                <a:lnTo>
                  <a:pt x="1237" y="842"/>
                </a:lnTo>
                <a:lnTo>
                  <a:pt x="1239" y="823"/>
                </a:lnTo>
                <a:lnTo>
                  <a:pt x="1237" y="783"/>
                </a:lnTo>
                <a:lnTo>
                  <a:pt x="1232" y="747"/>
                </a:lnTo>
                <a:lnTo>
                  <a:pt x="1227" y="732"/>
                </a:lnTo>
                <a:lnTo>
                  <a:pt x="1223" y="717"/>
                </a:lnTo>
                <a:lnTo>
                  <a:pt x="1207" y="694"/>
                </a:lnTo>
                <a:lnTo>
                  <a:pt x="1198" y="684"/>
                </a:lnTo>
                <a:lnTo>
                  <a:pt x="1186" y="675"/>
                </a:lnTo>
                <a:lnTo>
                  <a:pt x="1179" y="671"/>
                </a:lnTo>
                <a:lnTo>
                  <a:pt x="1171" y="668"/>
                </a:lnTo>
                <a:lnTo>
                  <a:pt x="1155" y="661"/>
                </a:lnTo>
                <a:lnTo>
                  <a:pt x="1115" y="653"/>
                </a:lnTo>
                <a:lnTo>
                  <a:pt x="1090" y="652"/>
                </a:lnTo>
                <a:lnTo>
                  <a:pt x="1064" y="651"/>
                </a:lnTo>
                <a:lnTo>
                  <a:pt x="1032" y="652"/>
                </a:lnTo>
                <a:lnTo>
                  <a:pt x="1002" y="654"/>
                </a:lnTo>
                <a:lnTo>
                  <a:pt x="979" y="658"/>
                </a:lnTo>
                <a:lnTo>
                  <a:pt x="958" y="663"/>
                </a:lnTo>
                <a:lnTo>
                  <a:pt x="943" y="671"/>
                </a:lnTo>
                <a:lnTo>
                  <a:pt x="930" y="683"/>
                </a:lnTo>
                <a:lnTo>
                  <a:pt x="919" y="695"/>
                </a:lnTo>
                <a:lnTo>
                  <a:pt x="911" y="710"/>
                </a:lnTo>
                <a:lnTo>
                  <a:pt x="898" y="749"/>
                </a:lnTo>
                <a:lnTo>
                  <a:pt x="885" y="801"/>
                </a:lnTo>
                <a:lnTo>
                  <a:pt x="882" y="810"/>
                </a:lnTo>
                <a:lnTo>
                  <a:pt x="875" y="817"/>
                </a:lnTo>
                <a:lnTo>
                  <a:pt x="866" y="820"/>
                </a:lnTo>
                <a:lnTo>
                  <a:pt x="856" y="820"/>
                </a:lnTo>
                <a:lnTo>
                  <a:pt x="774" y="812"/>
                </a:lnTo>
                <a:lnTo>
                  <a:pt x="764" y="809"/>
                </a:lnTo>
                <a:lnTo>
                  <a:pt x="758" y="802"/>
                </a:lnTo>
                <a:lnTo>
                  <a:pt x="755" y="792"/>
                </a:lnTo>
                <a:lnTo>
                  <a:pt x="754" y="778"/>
                </a:lnTo>
                <a:lnTo>
                  <a:pt x="759" y="746"/>
                </a:lnTo>
                <a:lnTo>
                  <a:pt x="766" y="715"/>
                </a:lnTo>
                <a:lnTo>
                  <a:pt x="774" y="688"/>
                </a:lnTo>
                <a:lnTo>
                  <a:pt x="784" y="662"/>
                </a:lnTo>
                <a:lnTo>
                  <a:pt x="796" y="640"/>
                </a:lnTo>
                <a:lnTo>
                  <a:pt x="810" y="621"/>
                </a:lnTo>
                <a:lnTo>
                  <a:pt x="817" y="612"/>
                </a:lnTo>
                <a:lnTo>
                  <a:pt x="824" y="603"/>
                </a:lnTo>
                <a:lnTo>
                  <a:pt x="841" y="588"/>
                </a:lnTo>
                <a:lnTo>
                  <a:pt x="862" y="576"/>
                </a:lnTo>
                <a:lnTo>
                  <a:pt x="883" y="564"/>
                </a:lnTo>
                <a:lnTo>
                  <a:pt x="909" y="555"/>
                </a:lnTo>
                <a:lnTo>
                  <a:pt x="937" y="547"/>
                </a:lnTo>
                <a:lnTo>
                  <a:pt x="967" y="542"/>
                </a:lnTo>
                <a:lnTo>
                  <a:pt x="1001" y="538"/>
                </a:lnTo>
                <a:lnTo>
                  <a:pt x="1038" y="536"/>
                </a:lnTo>
                <a:lnTo>
                  <a:pt x="1078" y="5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9">
            <a:hlinkClick r:id="" action="ppaction://noaction"/>
            <a:extLst>
              <a:ext uri="{FF2B5EF4-FFF2-40B4-BE49-F238E27FC236}">
                <a16:creationId xmlns:a16="http://schemas.microsoft.com/office/drawing/2014/main" id="{24A761DA-F788-4946-9A5E-0FD732CE67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623652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9">
            <a:hlinkClick r:id="" action="ppaction://noaction"/>
            <a:extLst>
              <a:ext uri="{FF2B5EF4-FFF2-40B4-BE49-F238E27FC236}">
                <a16:creationId xmlns:a16="http://schemas.microsoft.com/office/drawing/2014/main" id="{8FCF20FE-9B0D-2A4F-ACB8-07B84E1451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2941687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">
            <a:hlinkClick r:id="" action="ppaction://noaction"/>
            <a:extLst>
              <a:ext uri="{FF2B5EF4-FFF2-40B4-BE49-F238E27FC236}">
                <a16:creationId xmlns:a16="http://schemas.microsoft.com/office/drawing/2014/main" id="{471989C1-8B07-FA45-AB1D-B9D230C299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8438" y="3249089"/>
            <a:ext cx="237600" cy="237600"/>
          </a:xfrm>
          <a:custGeom>
            <a:avLst/>
            <a:gdLst>
              <a:gd name="T0" fmla="*/ 1082 w 2142"/>
              <a:gd name="T1" fmla="*/ 1607 h 2142"/>
              <a:gd name="T2" fmla="*/ 990 w 2142"/>
              <a:gd name="T3" fmla="*/ 1578 h 2142"/>
              <a:gd name="T4" fmla="*/ 494 w 2142"/>
              <a:gd name="T5" fmla="*/ 1025 h 2142"/>
              <a:gd name="T6" fmla="*/ 999 w 2142"/>
              <a:gd name="T7" fmla="*/ 1002 h 2142"/>
              <a:gd name="T8" fmla="*/ 1060 w 2142"/>
              <a:gd name="T9" fmla="*/ 534 h 2142"/>
              <a:gd name="T10" fmla="*/ 1153 w 2142"/>
              <a:gd name="T11" fmla="*/ 564 h 2142"/>
              <a:gd name="T12" fmla="*/ 1666 w 2142"/>
              <a:gd name="T13" fmla="*/ 1064 h 2142"/>
              <a:gd name="T14" fmla="*/ 1641 w 2142"/>
              <a:gd name="T15" fmla="*/ 1124 h 2142"/>
              <a:gd name="T16" fmla="*/ 539 w 2142"/>
              <a:gd name="T17" fmla="*/ 1140 h 2142"/>
              <a:gd name="T18" fmla="*/ 488 w 2142"/>
              <a:gd name="T19" fmla="*/ 1109 h 2142"/>
              <a:gd name="T20" fmla="*/ 988 w 2142"/>
              <a:gd name="T21" fmla="*/ 2139 h 2142"/>
              <a:gd name="T22" fmla="*/ 728 w 2142"/>
              <a:gd name="T23" fmla="*/ 2086 h 2142"/>
              <a:gd name="T24" fmla="*/ 494 w 2142"/>
              <a:gd name="T25" fmla="*/ 1973 h 2142"/>
              <a:gd name="T26" fmla="*/ 296 w 2142"/>
              <a:gd name="T27" fmla="*/ 1810 h 2142"/>
              <a:gd name="T28" fmla="*/ 142 w 2142"/>
              <a:gd name="T29" fmla="*/ 1604 h 2142"/>
              <a:gd name="T30" fmla="*/ 41 w 2142"/>
              <a:gd name="T31" fmla="*/ 1364 h 2142"/>
              <a:gd name="T32" fmla="*/ 0 w 2142"/>
              <a:gd name="T33" fmla="*/ 1098 h 2142"/>
              <a:gd name="T34" fmla="*/ 27 w 2142"/>
              <a:gd name="T35" fmla="*/ 829 h 2142"/>
              <a:gd name="T36" fmla="*/ 117 w 2142"/>
              <a:gd name="T37" fmla="*/ 584 h 2142"/>
              <a:gd name="T38" fmla="*/ 261 w 2142"/>
              <a:gd name="T39" fmla="*/ 370 h 2142"/>
              <a:gd name="T40" fmla="*/ 452 w 2142"/>
              <a:gd name="T41" fmla="*/ 198 h 2142"/>
              <a:gd name="T42" fmla="*/ 679 w 2142"/>
              <a:gd name="T43" fmla="*/ 74 h 2142"/>
              <a:gd name="T44" fmla="*/ 936 w 2142"/>
              <a:gd name="T45" fmla="*/ 8 h 2142"/>
              <a:gd name="T46" fmla="*/ 1208 w 2142"/>
              <a:gd name="T47" fmla="*/ 8 h 2142"/>
              <a:gd name="T48" fmla="*/ 1463 w 2142"/>
              <a:gd name="T49" fmla="*/ 74 h 2142"/>
              <a:gd name="T50" fmla="*/ 1691 w 2142"/>
              <a:gd name="T51" fmla="*/ 198 h 2142"/>
              <a:gd name="T52" fmla="*/ 1881 w 2142"/>
              <a:gd name="T53" fmla="*/ 370 h 2142"/>
              <a:gd name="T54" fmla="*/ 2025 w 2142"/>
              <a:gd name="T55" fmla="*/ 584 h 2142"/>
              <a:gd name="T56" fmla="*/ 2115 w 2142"/>
              <a:gd name="T57" fmla="*/ 829 h 2142"/>
              <a:gd name="T58" fmla="*/ 2142 w 2142"/>
              <a:gd name="T59" fmla="*/ 1098 h 2142"/>
              <a:gd name="T60" fmla="*/ 2101 w 2142"/>
              <a:gd name="T61" fmla="*/ 1364 h 2142"/>
              <a:gd name="T62" fmla="*/ 2000 w 2142"/>
              <a:gd name="T63" fmla="*/ 1604 h 2142"/>
              <a:gd name="T64" fmla="*/ 1846 w 2142"/>
              <a:gd name="T65" fmla="*/ 1810 h 2142"/>
              <a:gd name="T66" fmla="*/ 1648 w 2142"/>
              <a:gd name="T67" fmla="*/ 1973 h 2142"/>
              <a:gd name="T68" fmla="*/ 1414 w 2142"/>
              <a:gd name="T69" fmla="*/ 2086 h 2142"/>
              <a:gd name="T70" fmla="*/ 1154 w 2142"/>
              <a:gd name="T71" fmla="*/ 2139 h 2142"/>
              <a:gd name="T72" fmla="*/ 924 w 2142"/>
              <a:gd name="T73" fmla="*/ 113 h 2142"/>
              <a:gd name="T74" fmla="*/ 695 w 2142"/>
              <a:gd name="T75" fmla="*/ 179 h 2142"/>
              <a:gd name="T76" fmla="*/ 492 w 2142"/>
              <a:gd name="T77" fmla="*/ 296 h 2142"/>
              <a:gd name="T78" fmla="*/ 324 w 2142"/>
              <a:gd name="T79" fmla="*/ 456 h 2142"/>
              <a:gd name="T80" fmla="*/ 200 w 2142"/>
              <a:gd name="T81" fmla="*/ 652 h 2142"/>
              <a:gd name="T82" fmla="*/ 123 w 2142"/>
              <a:gd name="T83" fmla="*/ 876 h 2142"/>
              <a:gd name="T84" fmla="*/ 105 w 2142"/>
              <a:gd name="T85" fmla="*/ 1121 h 2142"/>
              <a:gd name="T86" fmla="*/ 147 w 2142"/>
              <a:gd name="T87" fmla="*/ 1358 h 2142"/>
              <a:gd name="T88" fmla="*/ 243 w 2142"/>
              <a:gd name="T89" fmla="*/ 1572 h 2142"/>
              <a:gd name="T90" fmla="*/ 388 w 2142"/>
              <a:gd name="T91" fmla="*/ 1755 h 2142"/>
              <a:gd name="T92" fmla="*/ 570 w 2142"/>
              <a:gd name="T93" fmla="*/ 1899 h 2142"/>
              <a:gd name="T94" fmla="*/ 784 w 2142"/>
              <a:gd name="T95" fmla="*/ 1996 h 2142"/>
              <a:gd name="T96" fmla="*/ 1021 w 2142"/>
              <a:gd name="T97" fmla="*/ 2037 h 2142"/>
              <a:gd name="T98" fmla="*/ 1266 w 2142"/>
              <a:gd name="T99" fmla="*/ 2019 h 2142"/>
              <a:gd name="T100" fmla="*/ 1490 w 2142"/>
              <a:gd name="T101" fmla="*/ 1943 h 2142"/>
              <a:gd name="T102" fmla="*/ 1686 w 2142"/>
              <a:gd name="T103" fmla="*/ 1818 h 2142"/>
              <a:gd name="T104" fmla="*/ 1846 w 2142"/>
              <a:gd name="T105" fmla="*/ 1650 h 2142"/>
              <a:gd name="T106" fmla="*/ 1963 w 2142"/>
              <a:gd name="T107" fmla="*/ 1447 h 2142"/>
              <a:gd name="T108" fmla="*/ 2028 w 2142"/>
              <a:gd name="T109" fmla="*/ 1218 h 2142"/>
              <a:gd name="T110" fmla="*/ 2034 w 2142"/>
              <a:gd name="T111" fmla="*/ 972 h 2142"/>
              <a:gd name="T112" fmla="*/ 1980 w 2142"/>
              <a:gd name="T113" fmla="*/ 738 h 2142"/>
              <a:gd name="T114" fmla="*/ 1873 w 2142"/>
              <a:gd name="T115" fmla="*/ 530 h 2142"/>
              <a:gd name="T116" fmla="*/ 1721 w 2142"/>
              <a:gd name="T117" fmla="*/ 354 h 2142"/>
              <a:gd name="T118" fmla="*/ 1532 w 2142"/>
              <a:gd name="T119" fmla="*/ 219 h 2142"/>
              <a:gd name="T120" fmla="*/ 1313 w 2142"/>
              <a:gd name="T121" fmla="*/ 134 h 2142"/>
              <a:gd name="T122" fmla="*/ 1072 w 2142"/>
              <a:gd name="T123" fmla="*/ 103 h 2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2" h="2142">
                <a:moveTo>
                  <a:pt x="1372" y="1210"/>
                </a:moveTo>
                <a:lnTo>
                  <a:pt x="1565" y="1210"/>
                </a:lnTo>
                <a:lnTo>
                  <a:pt x="1153" y="1578"/>
                </a:lnTo>
                <a:lnTo>
                  <a:pt x="1144" y="1585"/>
                </a:lnTo>
                <a:lnTo>
                  <a:pt x="1135" y="1590"/>
                </a:lnTo>
                <a:lnTo>
                  <a:pt x="1125" y="1596"/>
                </a:lnTo>
                <a:lnTo>
                  <a:pt x="1114" y="1601"/>
                </a:lnTo>
                <a:lnTo>
                  <a:pt x="1104" y="1604"/>
                </a:lnTo>
                <a:lnTo>
                  <a:pt x="1093" y="1606"/>
                </a:lnTo>
                <a:lnTo>
                  <a:pt x="1082" y="1607"/>
                </a:lnTo>
                <a:lnTo>
                  <a:pt x="1072" y="1608"/>
                </a:lnTo>
                <a:lnTo>
                  <a:pt x="1060" y="1607"/>
                </a:lnTo>
                <a:lnTo>
                  <a:pt x="1049" y="1606"/>
                </a:lnTo>
                <a:lnTo>
                  <a:pt x="1039" y="1604"/>
                </a:lnTo>
                <a:lnTo>
                  <a:pt x="1033" y="1603"/>
                </a:lnTo>
                <a:lnTo>
                  <a:pt x="1028" y="1601"/>
                </a:lnTo>
                <a:lnTo>
                  <a:pt x="1018" y="1596"/>
                </a:lnTo>
                <a:lnTo>
                  <a:pt x="1009" y="1590"/>
                </a:lnTo>
                <a:lnTo>
                  <a:pt x="999" y="1585"/>
                </a:lnTo>
                <a:lnTo>
                  <a:pt x="990" y="1578"/>
                </a:lnTo>
                <a:lnTo>
                  <a:pt x="975" y="1564"/>
                </a:lnTo>
                <a:lnTo>
                  <a:pt x="1372" y="1210"/>
                </a:lnTo>
                <a:close/>
                <a:moveTo>
                  <a:pt x="476" y="1070"/>
                </a:moveTo>
                <a:lnTo>
                  <a:pt x="478" y="1064"/>
                </a:lnTo>
                <a:lnTo>
                  <a:pt x="479" y="1056"/>
                </a:lnTo>
                <a:lnTo>
                  <a:pt x="481" y="1049"/>
                </a:lnTo>
                <a:lnTo>
                  <a:pt x="484" y="1042"/>
                </a:lnTo>
                <a:lnTo>
                  <a:pt x="487" y="1035"/>
                </a:lnTo>
                <a:lnTo>
                  <a:pt x="491" y="1030"/>
                </a:lnTo>
                <a:lnTo>
                  <a:pt x="494" y="1025"/>
                </a:lnTo>
                <a:lnTo>
                  <a:pt x="499" y="1020"/>
                </a:lnTo>
                <a:lnTo>
                  <a:pt x="505" y="1016"/>
                </a:lnTo>
                <a:lnTo>
                  <a:pt x="509" y="1012"/>
                </a:lnTo>
                <a:lnTo>
                  <a:pt x="515" y="1008"/>
                </a:lnTo>
                <a:lnTo>
                  <a:pt x="520" y="1006"/>
                </a:lnTo>
                <a:lnTo>
                  <a:pt x="527" y="1004"/>
                </a:lnTo>
                <a:lnTo>
                  <a:pt x="533" y="1003"/>
                </a:lnTo>
                <a:lnTo>
                  <a:pt x="539" y="1002"/>
                </a:lnTo>
                <a:lnTo>
                  <a:pt x="546" y="1002"/>
                </a:lnTo>
                <a:lnTo>
                  <a:pt x="999" y="1002"/>
                </a:lnTo>
                <a:lnTo>
                  <a:pt x="1451" y="1002"/>
                </a:lnTo>
                <a:lnTo>
                  <a:pt x="975" y="577"/>
                </a:lnTo>
                <a:lnTo>
                  <a:pt x="990" y="564"/>
                </a:lnTo>
                <a:lnTo>
                  <a:pt x="999" y="557"/>
                </a:lnTo>
                <a:lnTo>
                  <a:pt x="1009" y="550"/>
                </a:lnTo>
                <a:lnTo>
                  <a:pt x="1018" y="546"/>
                </a:lnTo>
                <a:lnTo>
                  <a:pt x="1028" y="541"/>
                </a:lnTo>
                <a:lnTo>
                  <a:pt x="1039" y="538"/>
                </a:lnTo>
                <a:lnTo>
                  <a:pt x="1049" y="536"/>
                </a:lnTo>
                <a:lnTo>
                  <a:pt x="1060" y="534"/>
                </a:lnTo>
                <a:lnTo>
                  <a:pt x="1072" y="533"/>
                </a:lnTo>
                <a:lnTo>
                  <a:pt x="1082" y="534"/>
                </a:lnTo>
                <a:lnTo>
                  <a:pt x="1093" y="536"/>
                </a:lnTo>
                <a:lnTo>
                  <a:pt x="1104" y="538"/>
                </a:lnTo>
                <a:lnTo>
                  <a:pt x="1109" y="539"/>
                </a:lnTo>
                <a:lnTo>
                  <a:pt x="1114" y="541"/>
                </a:lnTo>
                <a:lnTo>
                  <a:pt x="1125" y="546"/>
                </a:lnTo>
                <a:lnTo>
                  <a:pt x="1135" y="550"/>
                </a:lnTo>
                <a:lnTo>
                  <a:pt x="1144" y="557"/>
                </a:lnTo>
                <a:lnTo>
                  <a:pt x="1153" y="564"/>
                </a:lnTo>
                <a:lnTo>
                  <a:pt x="1629" y="988"/>
                </a:lnTo>
                <a:lnTo>
                  <a:pt x="1637" y="996"/>
                </a:lnTo>
                <a:lnTo>
                  <a:pt x="1643" y="1004"/>
                </a:lnTo>
                <a:lnTo>
                  <a:pt x="1650" y="1013"/>
                </a:lnTo>
                <a:lnTo>
                  <a:pt x="1655" y="1023"/>
                </a:lnTo>
                <a:lnTo>
                  <a:pt x="1657" y="1028"/>
                </a:lnTo>
                <a:lnTo>
                  <a:pt x="1659" y="1032"/>
                </a:lnTo>
                <a:lnTo>
                  <a:pt x="1662" y="1042"/>
                </a:lnTo>
                <a:lnTo>
                  <a:pt x="1665" y="1053"/>
                </a:lnTo>
                <a:lnTo>
                  <a:pt x="1666" y="1064"/>
                </a:lnTo>
                <a:lnTo>
                  <a:pt x="1666" y="1071"/>
                </a:lnTo>
                <a:lnTo>
                  <a:pt x="1665" y="1080"/>
                </a:lnTo>
                <a:lnTo>
                  <a:pt x="1664" y="1087"/>
                </a:lnTo>
                <a:lnTo>
                  <a:pt x="1661" y="1095"/>
                </a:lnTo>
                <a:lnTo>
                  <a:pt x="1658" y="1102"/>
                </a:lnTo>
                <a:lnTo>
                  <a:pt x="1655" y="1109"/>
                </a:lnTo>
                <a:lnTo>
                  <a:pt x="1650" y="1114"/>
                </a:lnTo>
                <a:lnTo>
                  <a:pt x="1646" y="1120"/>
                </a:lnTo>
                <a:lnTo>
                  <a:pt x="1643" y="1122"/>
                </a:lnTo>
                <a:lnTo>
                  <a:pt x="1641" y="1124"/>
                </a:lnTo>
                <a:lnTo>
                  <a:pt x="1635" y="1129"/>
                </a:lnTo>
                <a:lnTo>
                  <a:pt x="1630" y="1132"/>
                </a:lnTo>
                <a:lnTo>
                  <a:pt x="1624" y="1136"/>
                </a:lnTo>
                <a:lnTo>
                  <a:pt x="1617" y="1138"/>
                </a:lnTo>
                <a:lnTo>
                  <a:pt x="1611" y="1139"/>
                </a:lnTo>
                <a:lnTo>
                  <a:pt x="1604" y="1140"/>
                </a:lnTo>
                <a:lnTo>
                  <a:pt x="1596" y="1141"/>
                </a:lnTo>
                <a:lnTo>
                  <a:pt x="1071" y="1141"/>
                </a:lnTo>
                <a:lnTo>
                  <a:pt x="546" y="1141"/>
                </a:lnTo>
                <a:lnTo>
                  <a:pt x="539" y="1140"/>
                </a:lnTo>
                <a:lnTo>
                  <a:pt x="533" y="1139"/>
                </a:lnTo>
                <a:lnTo>
                  <a:pt x="527" y="1138"/>
                </a:lnTo>
                <a:lnTo>
                  <a:pt x="520" y="1136"/>
                </a:lnTo>
                <a:lnTo>
                  <a:pt x="515" y="1133"/>
                </a:lnTo>
                <a:lnTo>
                  <a:pt x="509" y="1130"/>
                </a:lnTo>
                <a:lnTo>
                  <a:pt x="505" y="1127"/>
                </a:lnTo>
                <a:lnTo>
                  <a:pt x="499" y="1122"/>
                </a:lnTo>
                <a:lnTo>
                  <a:pt x="494" y="1118"/>
                </a:lnTo>
                <a:lnTo>
                  <a:pt x="491" y="1113"/>
                </a:lnTo>
                <a:lnTo>
                  <a:pt x="488" y="1109"/>
                </a:lnTo>
                <a:lnTo>
                  <a:pt x="484" y="1103"/>
                </a:lnTo>
                <a:lnTo>
                  <a:pt x="481" y="1097"/>
                </a:lnTo>
                <a:lnTo>
                  <a:pt x="480" y="1091"/>
                </a:lnTo>
                <a:lnTo>
                  <a:pt x="478" y="1085"/>
                </a:lnTo>
                <a:lnTo>
                  <a:pt x="476" y="1078"/>
                </a:lnTo>
                <a:lnTo>
                  <a:pt x="476" y="1070"/>
                </a:lnTo>
                <a:close/>
                <a:moveTo>
                  <a:pt x="1072" y="2142"/>
                </a:moveTo>
                <a:lnTo>
                  <a:pt x="1044" y="2142"/>
                </a:lnTo>
                <a:lnTo>
                  <a:pt x="1017" y="2141"/>
                </a:lnTo>
                <a:lnTo>
                  <a:pt x="988" y="2139"/>
                </a:lnTo>
                <a:lnTo>
                  <a:pt x="961" y="2136"/>
                </a:lnTo>
                <a:lnTo>
                  <a:pt x="936" y="2133"/>
                </a:lnTo>
                <a:lnTo>
                  <a:pt x="909" y="2130"/>
                </a:lnTo>
                <a:lnTo>
                  <a:pt x="882" y="2125"/>
                </a:lnTo>
                <a:lnTo>
                  <a:pt x="856" y="2121"/>
                </a:lnTo>
                <a:lnTo>
                  <a:pt x="830" y="2115"/>
                </a:lnTo>
                <a:lnTo>
                  <a:pt x="804" y="2108"/>
                </a:lnTo>
                <a:lnTo>
                  <a:pt x="778" y="2101"/>
                </a:lnTo>
                <a:lnTo>
                  <a:pt x="753" y="2094"/>
                </a:lnTo>
                <a:lnTo>
                  <a:pt x="728" y="2086"/>
                </a:lnTo>
                <a:lnTo>
                  <a:pt x="704" y="2077"/>
                </a:lnTo>
                <a:lnTo>
                  <a:pt x="679" y="2068"/>
                </a:lnTo>
                <a:lnTo>
                  <a:pt x="654" y="2058"/>
                </a:lnTo>
                <a:lnTo>
                  <a:pt x="631" y="2047"/>
                </a:lnTo>
                <a:lnTo>
                  <a:pt x="607" y="2036"/>
                </a:lnTo>
                <a:lnTo>
                  <a:pt x="584" y="2025"/>
                </a:lnTo>
                <a:lnTo>
                  <a:pt x="561" y="2013"/>
                </a:lnTo>
                <a:lnTo>
                  <a:pt x="538" y="2000"/>
                </a:lnTo>
                <a:lnTo>
                  <a:pt x="516" y="1987"/>
                </a:lnTo>
                <a:lnTo>
                  <a:pt x="494" y="1973"/>
                </a:lnTo>
                <a:lnTo>
                  <a:pt x="473" y="1959"/>
                </a:lnTo>
                <a:lnTo>
                  <a:pt x="452" y="1944"/>
                </a:lnTo>
                <a:lnTo>
                  <a:pt x="431" y="1929"/>
                </a:lnTo>
                <a:lnTo>
                  <a:pt x="410" y="1913"/>
                </a:lnTo>
                <a:lnTo>
                  <a:pt x="391" y="1898"/>
                </a:lnTo>
                <a:lnTo>
                  <a:pt x="371" y="1881"/>
                </a:lnTo>
                <a:lnTo>
                  <a:pt x="351" y="1864"/>
                </a:lnTo>
                <a:lnTo>
                  <a:pt x="332" y="1846"/>
                </a:lnTo>
                <a:lnTo>
                  <a:pt x="314" y="1828"/>
                </a:lnTo>
                <a:lnTo>
                  <a:pt x="296" y="1810"/>
                </a:lnTo>
                <a:lnTo>
                  <a:pt x="278" y="1791"/>
                </a:lnTo>
                <a:lnTo>
                  <a:pt x="261" y="1772"/>
                </a:lnTo>
                <a:lnTo>
                  <a:pt x="245" y="1751"/>
                </a:lnTo>
                <a:lnTo>
                  <a:pt x="229" y="1732"/>
                </a:lnTo>
                <a:lnTo>
                  <a:pt x="213" y="1712"/>
                </a:lnTo>
                <a:lnTo>
                  <a:pt x="198" y="1691"/>
                </a:lnTo>
                <a:lnTo>
                  <a:pt x="184" y="1669"/>
                </a:lnTo>
                <a:lnTo>
                  <a:pt x="169" y="1648"/>
                </a:lnTo>
                <a:lnTo>
                  <a:pt x="156" y="1626"/>
                </a:lnTo>
                <a:lnTo>
                  <a:pt x="142" y="1604"/>
                </a:lnTo>
                <a:lnTo>
                  <a:pt x="130" y="1581"/>
                </a:lnTo>
                <a:lnTo>
                  <a:pt x="117" y="1558"/>
                </a:lnTo>
                <a:lnTo>
                  <a:pt x="106" y="1535"/>
                </a:lnTo>
                <a:lnTo>
                  <a:pt x="95" y="1512"/>
                </a:lnTo>
                <a:lnTo>
                  <a:pt x="85" y="1488"/>
                </a:lnTo>
                <a:lnTo>
                  <a:pt x="75" y="1463"/>
                </a:lnTo>
                <a:lnTo>
                  <a:pt x="66" y="1438"/>
                </a:lnTo>
                <a:lnTo>
                  <a:pt x="57" y="1414"/>
                </a:lnTo>
                <a:lnTo>
                  <a:pt x="49" y="1389"/>
                </a:lnTo>
                <a:lnTo>
                  <a:pt x="41" y="1364"/>
                </a:lnTo>
                <a:lnTo>
                  <a:pt x="34" y="1338"/>
                </a:lnTo>
                <a:lnTo>
                  <a:pt x="27" y="1312"/>
                </a:lnTo>
                <a:lnTo>
                  <a:pt x="22" y="1286"/>
                </a:lnTo>
                <a:lnTo>
                  <a:pt x="17" y="1261"/>
                </a:lnTo>
                <a:lnTo>
                  <a:pt x="13" y="1234"/>
                </a:lnTo>
                <a:lnTo>
                  <a:pt x="9" y="1208"/>
                </a:lnTo>
                <a:lnTo>
                  <a:pt x="6" y="1181"/>
                </a:lnTo>
                <a:lnTo>
                  <a:pt x="4" y="1154"/>
                </a:lnTo>
                <a:lnTo>
                  <a:pt x="2" y="1125"/>
                </a:lnTo>
                <a:lnTo>
                  <a:pt x="0" y="1098"/>
                </a:lnTo>
                <a:lnTo>
                  <a:pt x="0" y="1070"/>
                </a:lnTo>
                <a:lnTo>
                  <a:pt x="0" y="1043"/>
                </a:lnTo>
                <a:lnTo>
                  <a:pt x="2" y="1016"/>
                </a:lnTo>
                <a:lnTo>
                  <a:pt x="4" y="988"/>
                </a:lnTo>
                <a:lnTo>
                  <a:pt x="6" y="961"/>
                </a:lnTo>
                <a:lnTo>
                  <a:pt x="9" y="934"/>
                </a:lnTo>
                <a:lnTo>
                  <a:pt x="13" y="908"/>
                </a:lnTo>
                <a:lnTo>
                  <a:pt x="17" y="881"/>
                </a:lnTo>
                <a:lnTo>
                  <a:pt x="22" y="855"/>
                </a:lnTo>
                <a:lnTo>
                  <a:pt x="27" y="829"/>
                </a:lnTo>
                <a:lnTo>
                  <a:pt x="34" y="803"/>
                </a:lnTo>
                <a:lnTo>
                  <a:pt x="41" y="778"/>
                </a:lnTo>
                <a:lnTo>
                  <a:pt x="49" y="753"/>
                </a:lnTo>
                <a:lnTo>
                  <a:pt x="57" y="728"/>
                </a:lnTo>
                <a:lnTo>
                  <a:pt x="66" y="703"/>
                </a:lnTo>
                <a:lnTo>
                  <a:pt x="75" y="679"/>
                </a:lnTo>
                <a:lnTo>
                  <a:pt x="85" y="654"/>
                </a:lnTo>
                <a:lnTo>
                  <a:pt x="95" y="630"/>
                </a:lnTo>
                <a:lnTo>
                  <a:pt x="106" y="606"/>
                </a:lnTo>
                <a:lnTo>
                  <a:pt x="117" y="584"/>
                </a:lnTo>
                <a:lnTo>
                  <a:pt x="130" y="560"/>
                </a:lnTo>
                <a:lnTo>
                  <a:pt x="142" y="538"/>
                </a:lnTo>
                <a:lnTo>
                  <a:pt x="156" y="515"/>
                </a:lnTo>
                <a:lnTo>
                  <a:pt x="169" y="494"/>
                </a:lnTo>
                <a:lnTo>
                  <a:pt x="184" y="473"/>
                </a:lnTo>
                <a:lnTo>
                  <a:pt x="198" y="451"/>
                </a:lnTo>
                <a:lnTo>
                  <a:pt x="213" y="430"/>
                </a:lnTo>
                <a:lnTo>
                  <a:pt x="229" y="409"/>
                </a:lnTo>
                <a:lnTo>
                  <a:pt x="245" y="389"/>
                </a:lnTo>
                <a:lnTo>
                  <a:pt x="261" y="370"/>
                </a:lnTo>
                <a:lnTo>
                  <a:pt x="278" y="351"/>
                </a:lnTo>
                <a:lnTo>
                  <a:pt x="296" y="332"/>
                </a:lnTo>
                <a:lnTo>
                  <a:pt x="314" y="314"/>
                </a:lnTo>
                <a:lnTo>
                  <a:pt x="332" y="296"/>
                </a:lnTo>
                <a:lnTo>
                  <a:pt x="351" y="278"/>
                </a:lnTo>
                <a:lnTo>
                  <a:pt x="371" y="261"/>
                </a:lnTo>
                <a:lnTo>
                  <a:pt x="391" y="244"/>
                </a:lnTo>
                <a:lnTo>
                  <a:pt x="410" y="228"/>
                </a:lnTo>
                <a:lnTo>
                  <a:pt x="431" y="212"/>
                </a:lnTo>
                <a:lnTo>
                  <a:pt x="452" y="198"/>
                </a:lnTo>
                <a:lnTo>
                  <a:pt x="473" y="183"/>
                </a:lnTo>
                <a:lnTo>
                  <a:pt x="494" y="169"/>
                </a:lnTo>
                <a:lnTo>
                  <a:pt x="516" y="155"/>
                </a:lnTo>
                <a:lnTo>
                  <a:pt x="538" y="142"/>
                </a:lnTo>
                <a:lnTo>
                  <a:pt x="561" y="129"/>
                </a:lnTo>
                <a:lnTo>
                  <a:pt x="584" y="117"/>
                </a:lnTo>
                <a:lnTo>
                  <a:pt x="607" y="106"/>
                </a:lnTo>
                <a:lnTo>
                  <a:pt x="631" y="94"/>
                </a:lnTo>
                <a:lnTo>
                  <a:pt x="654" y="84"/>
                </a:lnTo>
                <a:lnTo>
                  <a:pt x="679" y="74"/>
                </a:lnTo>
                <a:lnTo>
                  <a:pt x="704" y="65"/>
                </a:lnTo>
                <a:lnTo>
                  <a:pt x="728" y="56"/>
                </a:lnTo>
                <a:lnTo>
                  <a:pt x="753" y="48"/>
                </a:lnTo>
                <a:lnTo>
                  <a:pt x="778" y="40"/>
                </a:lnTo>
                <a:lnTo>
                  <a:pt x="804" y="33"/>
                </a:lnTo>
                <a:lnTo>
                  <a:pt x="830" y="27"/>
                </a:lnTo>
                <a:lnTo>
                  <a:pt x="856" y="21"/>
                </a:lnTo>
                <a:lnTo>
                  <a:pt x="882" y="17"/>
                </a:lnTo>
                <a:lnTo>
                  <a:pt x="909" y="12"/>
                </a:lnTo>
                <a:lnTo>
                  <a:pt x="936" y="8"/>
                </a:lnTo>
                <a:lnTo>
                  <a:pt x="961" y="5"/>
                </a:lnTo>
                <a:lnTo>
                  <a:pt x="988" y="3"/>
                </a:lnTo>
                <a:lnTo>
                  <a:pt x="1017" y="1"/>
                </a:lnTo>
                <a:lnTo>
                  <a:pt x="1044" y="0"/>
                </a:lnTo>
                <a:lnTo>
                  <a:pt x="1072" y="0"/>
                </a:lnTo>
                <a:lnTo>
                  <a:pt x="1099" y="0"/>
                </a:lnTo>
                <a:lnTo>
                  <a:pt x="1126" y="1"/>
                </a:lnTo>
                <a:lnTo>
                  <a:pt x="1154" y="3"/>
                </a:lnTo>
                <a:lnTo>
                  <a:pt x="1181" y="5"/>
                </a:lnTo>
                <a:lnTo>
                  <a:pt x="1208" y="8"/>
                </a:lnTo>
                <a:lnTo>
                  <a:pt x="1234" y="12"/>
                </a:lnTo>
                <a:lnTo>
                  <a:pt x="1261" y="17"/>
                </a:lnTo>
                <a:lnTo>
                  <a:pt x="1287" y="21"/>
                </a:lnTo>
                <a:lnTo>
                  <a:pt x="1313" y="27"/>
                </a:lnTo>
                <a:lnTo>
                  <a:pt x="1338" y="33"/>
                </a:lnTo>
                <a:lnTo>
                  <a:pt x="1364" y="40"/>
                </a:lnTo>
                <a:lnTo>
                  <a:pt x="1389" y="48"/>
                </a:lnTo>
                <a:lnTo>
                  <a:pt x="1414" y="56"/>
                </a:lnTo>
                <a:lnTo>
                  <a:pt x="1439" y="65"/>
                </a:lnTo>
                <a:lnTo>
                  <a:pt x="1463" y="74"/>
                </a:lnTo>
                <a:lnTo>
                  <a:pt x="1488" y="84"/>
                </a:lnTo>
                <a:lnTo>
                  <a:pt x="1512" y="94"/>
                </a:lnTo>
                <a:lnTo>
                  <a:pt x="1535" y="106"/>
                </a:lnTo>
                <a:lnTo>
                  <a:pt x="1558" y="117"/>
                </a:lnTo>
                <a:lnTo>
                  <a:pt x="1581" y="129"/>
                </a:lnTo>
                <a:lnTo>
                  <a:pt x="1604" y="142"/>
                </a:lnTo>
                <a:lnTo>
                  <a:pt x="1626" y="155"/>
                </a:lnTo>
                <a:lnTo>
                  <a:pt x="1648" y="169"/>
                </a:lnTo>
                <a:lnTo>
                  <a:pt x="1669" y="183"/>
                </a:lnTo>
                <a:lnTo>
                  <a:pt x="1691" y="198"/>
                </a:lnTo>
                <a:lnTo>
                  <a:pt x="1712" y="212"/>
                </a:lnTo>
                <a:lnTo>
                  <a:pt x="1732" y="228"/>
                </a:lnTo>
                <a:lnTo>
                  <a:pt x="1753" y="244"/>
                </a:lnTo>
                <a:lnTo>
                  <a:pt x="1772" y="261"/>
                </a:lnTo>
                <a:lnTo>
                  <a:pt x="1791" y="278"/>
                </a:lnTo>
                <a:lnTo>
                  <a:pt x="1810" y="296"/>
                </a:lnTo>
                <a:lnTo>
                  <a:pt x="1828" y="314"/>
                </a:lnTo>
                <a:lnTo>
                  <a:pt x="1846" y="332"/>
                </a:lnTo>
                <a:lnTo>
                  <a:pt x="1864" y="351"/>
                </a:lnTo>
                <a:lnTo>
                  <a:pt x="1881" y="370"/>
                </a:lnTo>
                <a:lnTo>
                  <a:pt x="1898" y="389"/>
                </a:lnTo>
                <a:lnTo>
                  <a:pt x="1913" y="409"/>
                </a:lnTo>
                <a:lnTo>
                  <a:pt x="1929" y="430"/>
                </a:lnTo>
                <a:lnTo>
                  <a:pt x="1944" y="451"/>
                </a:lnTo>
                <a:lnTo>
                  <a:pt x="1958" y="473"/>
                </a:lnTo>
                <a:lnTo>
                  <a:pt x="1973" y="494"/>
                </a:lnTo>
                <a:lnTo>
                  <a:pt x="1987" y="515"/>
                </a:lnTo>
                <a:lnTo>
                  <a:pt x="2000" y="538"/>
                </a:lnTo>
                <a:lnTo>
                  <a:pt x="2012" y="560"/>
                </a:lnTo>
                <a:lnTo>
                  <a:pt x="2025" y="584"/>
                </a:lnTo>
                <a:lnTo>
                  <a:pt x="2036" y="606"/>
                </a:lnTo>
                <a:lnTo>
                  <a:pt x="2047" y="630"/>
                </a:lnTo>
                <a:lnTo>
                  <a:pt x="2057" y="654"/>
                </a:lnTo>
                <a:lnTo>
                  <a:pt x="2068" y="679"/>
                </a:lnTo>
                <a:lnTo>
                  <a:pt x="2077" y="703"/>
                </a:lnTo>
                <a:lnTo>
                  <a:pt x="2086" y="728"/>
                </a:lnTo>
                <a:lnTo>
                  <a:pt x="2093" y="753"/>
                </a:lnTo>
                <a:lnTo>
                  <a:pt x="2101" y="778"/>
                </a:lnTo>
                <a:lnTo>
                  <a:pt x="2108" y="803"/>
                </a:lnTo>
                <a:lnTo>
                  <a:pt x="2115" y="829"/>
                </a:lnTo>
                <a:lnTo>
                  <a:pt x="2121" y="855"/>
                </a:lnTo>
                <a:lnTo>
                  <a:pt x="2125" y="881"/>
                </a:lnTo>
                <a:lnTo>
                  <a:pt x="2130" y="908"/>
                </a:lnTo>
                <a:lnTo>
                  <a:pt x="2134" y="934"/>
                </a:lnTo>
                <a:lnTo>
                  <a:pt x="2136" y="961"/>
                </a:lnTo>
                <a:lnTo>
                  <a:pt x="2139" y="988"/>
                </a:lnTo>
                <a:lnTo>
                  <a:pt x="2141" y="1016"/>
                </a:lnTo>
                <a:lnTo>
                  <a:pt x="2142" y="1043"/>
                </a:lnTo>
                <a:lnTo>
                  <a:pt x="2142" y="1070"/>
                </a:lnTo>
                <a:lnTo>
                  <a:pt x="2142" y="1098"/>
                </a:lnTo>
                <a:lnTo>
                  <a:pt x="2141" y="1125"/>
                </a:lnTo>
                <a:lnTo>
                  <a:pt x="2139" y="1154"/>
                </a:lnTo>
                <a:lnTo>
                  <a:pt x="2136" y="1181"/>
                </a:lnTo>
                <a:lnTo>
                  <a:pt x="2134" y="1208"/>
                </a:lnTo>
                <a:lnTo>
                  <a:pt x="2130" y="1234"/>
                </a:lnTo>
                <a:lnTo>
                  <a:pt x="2125" y="1261"/>
                </a:lnTo>
                <a:lnTo>
                  <a:pt x="2121" y="1286"/>
                </a:lnTo>
                <a:lnTo>
                  <a:pt x="2115" y="1312"/>
                </a:lnTo>
                <a:lnTo>
                  <a:pt x="2108" y="1338"/>
                </a:lnTo>
                <a:lnTo>
                  <a:pt x="2101" y="1364"/>
                </a:lnTo>
                <a:lnTo>
                  <a:pt x="2093" y="1389"/>
                </a:lnTo>
                <a:lnTo>
                  <a:pt x="2086" y="1414"/>
                </a:lnTo>
                <a:lnTo>
                  <a:pt x="2077" y="1438"/>
                </a:lnTo>
                <a:lnTo>
                  <a:pt x="2068" y="1463"/>
                </a:lnTo>
                <a:lnTo>
                  <a:pt x="2057" y="1488"/>
                </a:lnTo>
                <a:lnTo>
                  <a:pt x="2047" y="1512"/>
                </a:lnTo>
                <a:lnTo>
                  <a:pt x="2036" y="1535"/>
                </a:lnTo>
                <a:lnTo>
                  <a:pt x="2025" y="1558"/>
                </a:lnTo>
                <a:lnTo>
                  <a:pt x="2012" y="1581"/>
                </a:lnTo>
                <a:lnTo>
                  <a:pt x="2000" y="1604"/>
                </a:lnTo>
                <a:lnTo>
                  <a:pt x="1987" y="1626"/>
                </a:lnTo>
                <a:lnTo>
                  <a:pt x="1973" y="1648"/>
                </a:lnTo>
                <a:lnTo>
                  <a:pt x="1958" y="1669"/>
                </a:lnTo>
                <a:lnTo>
                  <a:pt x="1944" y="1691"/>
                </a:lnTo>
                <a:lnTo>
                  <a:pt x="1929" y="1712"/>
                </a:lnTo>
                <a:lnTo>
                  <a:pt x="1913" y="1732"/>
                </a:lnTo>
                <a:lnTo>
                  <a:pt x="1898" y="1751"/>
                </a:lnTo>
                <a:lnTo>
                  <a:pt x="1881" y="1772"/>
                </a:lnTo>
                <a:lnTo>
                  <a:pt x="1864" y="1791"/>
                </a:lnTo>
                <a:lnTo>
                  <a:pt x="1846" y="1810"/>
                </a:lnTo>
                <a:lnTo>
                  <a:pt x="1828" y="1828"/>
                </a:lnTo>
                <a:lnTo>
                  <a:pt x="1810" y="1846"/>
                </a:lnTo>
                <a:lnTo>
                  <a:pt x="1791" y="1864"/>
                </a:lnTo>
                <a:lnTo>
                  <a:pt x="1772" y="1881"/>
                </a:lnTo>
                <a:lnTo>
                  <a:pt x="1753" y="1898"/>
                </a:lnTo>
                <a:lnTo>
                  <a:pt x="1732" y="1913"/>
                </a:lnTo>
                <a:lnTo>
                  <a:pt x="1712" y="1929"/>
                </a:lnTo>
                <a:lnTo>
                  <a:pt x="1691" y="1944"/>
                </a:lnTo>
                <a:lnTo>
                  <a:pt x="1669" y="1959"/>
                </a:lnTo>
                <a:lnTo>
                  <a:pt x="1648" y="1973"/>
                </a:lnTo>
                <a:lnTo>
                  <a:pt x="1626" y="1987"/>
                </a:lnTo>
                <a:lnTo>
                  <a:pt x="1604" y="2000"/>
                </a:lnTo>
                <a:lnTo>
                  <a:pt x="1581" y="2013"/>
                </a:lnTo>
                <a:lnTo>
                  <a:pt x="1558" y="2025"/>
                </a:lnTo>
                <a:lnTo>
                  <a:pt x="1535" y="2036"/>
                </a:lnTo>
                <a:lnTo>
                  <a:pt x="1512" y="2047"/>
                </a:lnTo>
                <a:lnTo>
                  <a:pt x="1488" y="2058"/>
                </a:lnTo>
                <a:lnTo>
                  <a:pt x="1463" y="2068"/>
                </a:lnTo>
                <a:lnTo>
                  <a:pt x="1439" y="2077"/>
                </a:lnTo>
                <a:lnTo>
                  <a:pt x="1414" y="2086"/>
                </a:lnTo>
                <a:lnTo>
                  <a:pt x="1389" y="2094"/>
                </a:lnTo>
                <a:lnTo>
                  <a:pt x="1364" y="2101"/>
                </a:lnTo>
                <a:lnTo>
                  <a:pt x="1338" y="2108"/>
                </a:lnTo>
                <a:lnTo>
                  <a:pt x="1313" y="2115"/>
                </a:lnTo>
                <a:lnTo>
                  <a:pt x="1287" y="2121"/>
                </a:lnTo>
                <a:lnTo>
                  <a:pt x="1261" y="2125"/>
                </a:lnTo>
                <a:lnTo>
                  <a:pt x="1234" y="2130"/>
                </a:lnTo>
                <a:lnTo>
                  <a:pt x="1208" y="2133"/>
                </a:lnTo>
                <a:lnTo>
                  <a:pt x="1181" y="2136"/>
                </a:lnTo>
                <a:lnTo>
                  <a:pt x="1154" y="2139"/>
                </a:lnTo>
                <a:lnTo>
                  <a:pt x="1126" y="2141"/>
                </a:lnTo>
                <a:lnTo>
                  <a:pt x="1099" y="2142"/>
                </a:lnTo>
                <a:lnTo>
                  <a:pt x="1072" y="2142"/>
                </a:lnTo>
                <a:close/>
                <a:moveTo>
                  <a:pt x="1072" y="103"/>
                </a:moveTo>
                <a:lnTo>
                  <a:pt x="1046" y="103"/>
                </a:lnTo>
                <a:lnTo>
                  <a:pt x="1021" y="104"/>
                </a:lnTo>
                <a:lnTo>
                  <a:pt x="997" y="106"/>
                </a:lnTo>
                <a:lnTo>
                  <a:pt x="973" y="108"/>
                </a:lnTo>
                <a:lnTo>
                  <a:pt x="948" y="110"/>
                </a:lnTo>
                <a:lnTo>
                  <a:pt x="924" y="113"/>
                </a:lnTo>
                <a:lnTo>
                  <a:pt x="901" y="118"/>
                </a:lnTo>
                <a:lnTo>
                  <a:pt x="876" y="122"/>
                </a:lnTo>
                <a:lnTo>
                  <a:pt x="853" y="128"/>
                </a:lnTo>
                <a:lnTo>
                  <a:pt x="830" y="134"/>
                </a:lnTo>
                <a:lnTo>
                  <a:pt x="806" y="139"/>
                </a:lnTo>
                <a:lnTo>
                  <a:pt x="784" y="146"/>
                </a:lnTo>
                <a:lnTo>
                  <a:pt x="761" y="154"/>
                </a:lnTo>
                <a:lnTo>
                  <a:pt x="739" y="162"/>
                </a:lnTo>
                <a:lnTo>
                  <a:pt x="717" y="170"/>
                </a:lnTo>
                <a:lnTo>
                  <a:pt x="695" y="179"/>
                </a:lnTo>
                <a:lnTo>
                  <a:pt x="673" y="189"/>
                </a:lnTo>
                <a:lnTo>
                  <a:pt x="652" y="198"/>
                </a:lnTo>
                <a:lnTo>
                  <a:pt x="631" y="209"/>
                </a:lnTo>
                <a:lnTo>
                  <a:pt x="610" y="219"/>
                </a:lnTo>
                <a:lnTo>
                  <a:pt x="590" y="232"/>
                </a:lnTo>
                <a:lnTo>
                  <a:pt x="570" y="243"/>
                </a:lnTo>
                <a:lnTo>
                  <a:pt x="550" y="255"/>
                </a:lnTo>
                <a:lnTo>
                  <a:pt x="530" y="269"/>
                </a:lnTo>
                <a:lnTo>
                  <a:pt x="511" y="281"/>
                </a:lnTo>
                <a:lnTo>
                  <a:pt x="492" y="296"/>
                </a:lnTo>
                <a:lnTo>
                  <a:pt x="474" y="309"/>
                </a:lnTo>
                <a:lnTo>
                  <a:pt x="456" y="324"/>
                </a:lnTo>
                <a:lnTo>
                  <a:pt x="438" y="340"/>
                </a:lnTo>
                <a:lnTo>
                  <a:pt x="421" y="354"/>
                </a:lnTo>
                <a:lnTo>
                  <a:pt x="404" y="370"/>
                </a:lnTo>
                <a:lnTo>
                  <a:pt x="388" y="387"/>
                </a:lnTo>
                <a:lnTo>
                  <a:pt x="371" y="403"/>
                </a:lnTo>
                <a:lnTo>
                  <a:pt x="355" y="421"/>
                </a:lnTo>
                <a:lnTo>
                  <a:pt x="340" y="438"/>
                </a:lnTo>
                <a:lnTo>
                  <a:pt x="324" y="456"/>
                </a:lnTo>
                <a:lnTo>
                  <a:pt x="310" y="474"/>
                </a:lnTo>
                <a:lnTo>
                  <a:pt x="296" y="492"/>
                </a:lnTo>
                <a:lnTo>
                  <a:pt x="283" y="511"/>
                </a:lnTo>
                <a:lnTo>
                  <a:pt x="269" y="530"/>
                </a:lnTo>
                <a:lnTo>
                  <a:pt x="256" y="549"/>
                </a:lnTo>
                <a:lnTo>
                  <a:pt x="243" y="569"/>
                </a:lnTo>
                <a:lnTo>
                  <a:pt x="232" y="590"/>
                </a:lnTo>
                <a:lnTo>
                  <a:pt x="221" y="610"/>
                </a:lnTo>
                <a:lnTo>
                  <a:pt x="210" y="630"/>
                </a:lnTo>
                <a:lnTo>
                  <a:pt x="200" y="652"/>
                </a:lnTo>
                <a:lnTo>
                  <a:pt x="189" y="673"/>
                </a:lnTo>
                <a:lnTo>
                  <a:pt x="179" y="694"/>
                </a:lnTo>
                <a:lnTo>
                  <a:pt x="170" y="716"/>
                </a:lnTo>
                <a:lnTo>
                  <a:pt x="162" y="738"/>
                </a:lnTo>
                <a:lnTo>
                  <a:pt x="155" y="761"/>
                </a:lnTo>
                <a:lnTo>
                  <a:pt x="147" y="783"/>
                </a:lnTo>
                <a:lnTo>
                  <a:pt x="140" y="806"/>
                </a:lnTo>
                <a:lnTo>
                  <a:pt x="134" y="829"/>
                </a:lnTo>
                <a:lnTo>
                  <a:pt x="129" y="853"/>
                </a:lnTo>
                <a:lnTo>
                  <a:pt x="123" y="876"/>
                </a:lnTo>
                <a:lnTo>
                  <a:pt x="119" y="899"/>
                </a:lnTo>
                <a:lnTo>
                  <a:pt x="115" y="924"/>
                </a:lnTo>
                <a:lnTo>
                  <a:pt x="112" y="948"/>
                </a:lnTo>
                <a:lnTo>
                  <a:pt x="108" y="972"/>
                </a:lnTo>
                <a:lnTo>
                  <a:pt x="106" y="996"/>
                </a:lnTo>
                <a:lnTo>
                  <a:pt x="105" y="1021"/>
                </a:lnTo>
                <a:lnTo>
                  <a:pt x="104" y="1046"/>
                </a:lnTo>
                <a:lnTo>
                  <a:pt x="104" y="1070"/>
                </a:lnTo>
                <a:lnTo>
                  <a:pt x="104" y="1096"/>
                </a:lnTo>
                <a:lnTo>
                  <a:pt x="105" y="1121"/>
                </a:lnTo>
                <a:lnTo>
                  <a:pt x="106" y="1146"/>
                </a:lnTo>
                <a:lnTo>
                  <a:pt x="108" y="1169"/>
                </a:lnTo>
                <a:lnTo>
                  <a:pt x="112" y="1194"/>
                </a:lnTo>
                <a:lnTo>
                  <a:pt x="115" y="1218"/>
                </a:lnTo>
                <a:lnTo>
                  <a:pt x="119" y="1241"/>
                </a:lnTo>
                <a:lnTo>
                  <a:pt x="123" y="1266"/>
                </a:lnTo>
                <a:lnTo>
                  <a:pt x="129" y="1289"/>
                </a:lnTo>
                <a:lnTo>
                  <a:pt x="134" y="1312"/>
                </a:lnTo>
                <a:lnTo>
                  <a:pt x="140" y="1336"/>
                </a:lnTo>
                <a:lnTo>
                  <a:pt x="147" y="1358"/>
                </a:lnTo>
                <a:lnTo>
                  <a:pt x="155" y="1381"/>
                </a:lnTo>
                <a:lnTo>
                  <a:pt x="162" y="1404"/>
                </a:lnTo>
                <a:lnTo>
                  <a:pt x="170" y="1425"/>
                </a:lnTo>
                <a:lnTo>
                  <a:pt x="179" y="1447"/>
                </a:lnTo>
                <a:lnTo>
                  <a:pt x="189" y="1469"/>
                </a:lnTo>
                <a:lnTo>
                  <a:pt x="200" y="1490"/>
                </a:lnTo>
                <a:lnTo>
                  <a:pt x="210" y="1512"/>
                </a:lnTo>
                <a:lnTo>
                  <a:pt x="221" y="1532"/>
                </a:lnTo>
                <a:lnTo>
                  <a:pt x="232" y="1552"/>
                </a:lnTo>
                <a:lnTo>
                  <a:pt x="243" y="1572"/>
                </a:lnTo>
                <a:lnTo>
                  <a:pt x="256" y="1593"/>
                </a:lnTo>
                <a:lnTo>
                  <a:pt x="269" y="1612"/>
                </a:lnTo>
                <a:lnTo>
                  <a:pt x="283" y="1631"/>
                </a:lnTo>
                <a:lnTo>
                  <a:pt x="296" y="1650"/>
                </a:lnTo>
                <a:lnTo>
                  <a:pt x="310" y="1668"/>
                </a:lnTo>
                <a:lnTo>
                  <a:pt x="324" y="1686"/>
                </a:lnTo>
                <a:lnTo>
                  <a:pt x="340" y="1704"/>
                </a:lnTo>
                <a:lnTo>
                  <a:pt x="355" y="1721"/>
                </a:lnTo>
                <a:lnTo>
                  <a:pt x="371" y="1738"/>
                </a:lnTo>
                <a:lnTo>
                  <a:pt x="388" y="1755"/>
                </a:lnTo>
                <a:lnTo>
                  <a:pt x="404" y="1772"/>
                </a:lnTo>
                <a:lnTo>
                  <a:pt x="421" y="1787"/>
                </a:lnTo>
                <a:lnTo>
                  <a:pt x="438" y="1802"/>
                </a:lnTo>
                <a:lnTo>
                  <a:pt x="456" y="1818"/>
                </a:lnTo>
                <a:lnTo>
                  <a:pt x="474" y="1832"/>
                </a:lnTo>
                <a:lnTo>
                  <a:pt x="492" y="1846"/>
                </a:lnTo>
                <a:lnTo>
                  <a:pt x="511" y="1859"/>
                </a:lnTo>
                <a:lnTo>
                  <a:pt x="530" y="1873"/>
                </a:lnTo>
                <a:lnTo>
                  <a:pt x="550" y="1886"/>
                </a:lnTo>
                <a:lnTo>
                  <a:pt x="570" y="1899"/>
                </a:lnTo>
                <a:lnTo>
                  <a:pt x="590" y="1910"/>
                </a:lnTo>
                <a:lnTo>
                  <a:pt x="610" y="1921"/>
                </a:lnTo>
                <a:lnTo>
                  <a:pt x="631" y="1933"/>
                </a:lnTo>
                <a:lnTo>
                  <a:pt x="652" y="1943"/>
                </a:lnTo>
                <a:lnTo>
                  <a:pt x="673" y="1953"/>
                </a:lnTo>
                <a:lnTo>
                  <a:pt x="695" y="1963"/>
                </a:lnTo>
                <a:lnTo>
                  <a:pt x="717" y="1972"/>
                </a:lnTo>
                <a:lnTo>
                  <a:pt x="739" y="1980"/>
                </a:lnTo>
                <a:lnTo>
                  <a:pt x="761" y="1988"/>
                </a:lnTo>
                <a:lnTo>
                  <a:pt x="784" y="1996"/>
                </a:lnTo>
                <a:lnTo>
                  <a:pt x="806" y="2002"/>
                </a:lnTo>
                <a:lnTo>
                  <a:pt x="830" y="2008"/>
                </a:lnTo>
                <a:lnTo>
                  <a:pt x="853" y="2014"/>
                </a:lnTo>
                <a:lnTo>
                  <a:pt x="876" y="2019"/>
                </a:lnTo>
                <a:lnTo>
                  <a:pt x="901" y="2024"/>
                </a:lnTo>
                <a:lnTo>
                  <a:pt x="924" y="2027"/>
                </a:lnTo>
                <a:lnTo>
                  <a:pt x="948" y="2031"/>
                </a:lnTo>
                <a:lnTo>
                  <a:pt x="973" y="2034"/>
                </a:lnTo>
                <a:lnTo>
                  <a:pt x="997" y="2036"/>
                </a:lnTo>
                <a:lnTo>
                  <a:pt x="1021" y="2037"/>
                </a:lnTo>
                <a:lnTo>
                  <a:pt x="1046" y="2038"/>
                </a:lnTo>
                <a:lnTo>
                  <a:pt x="1072" y="2038"/>
                </a:lnTo>
                <a:lnTo>
                  <a:pt x="1096" y="2038"/>
                </a:lnTo>
                <a:lnTo>
                  <a:pt x="1121" y="2037"/>
                </a:lnTo>
                <a:lnTo>
                  <a:pt x="1146" y="2036"/>
                </a:lnTo>
                <a:lnTo>
                  <a:pt x="1170" y="2034"/>
                </a:lnTo>
                <a:lnTo>
                  <a:pt x="1194" y="2031"/>
                </a:lnTo>
                <a:lnTo>
                  <a:pt x="1218" y="2027"/>
                </a:lnTo>
                <a:lnTo>
                  <a:pt x="1243" y="2024"/>
                </a:lnTo>
                <a:lnTo>
                  <a:pt x="1266" y="2019"/>
                </a:lnTo>
                <a:lnTo>
                  <a:pt x="1290" y="2014"/>
                </a:lnTo>
                <a:lnTo>
                  <a:pt x="1313" y="2008"/>
                </a:lnTo>
                <a:lnTo>
                  <a:pt x="1336" y="2002"/>
                </a:lnTo>
                <a:lnTo>
                  <a:pt x="1359" y="1996"/>
                </a:lnTo>
                <a:lnTo>
                  <a:pt x="1381" y="1988"/>
                </a:lnTo>
                <a:lnTo>
                  <a:pt x="1404" y="1980"/>
                </a:lnTo>
                <a:lnTo>
                  <a:pt x="1426" y="1972"/>
                </a:lnTo>
                <a:lnTo>
                  <a:pt x="1448" y="1963"/>
                </a:lnTo>
                <a:lnTo>
                  <a:pt x="1469" y="1953"/>
                </a:lnTo>
                <a:lnTo>
                  <a:pt x="1490" y="1943"/>
                </a:lnTo>
                <a:lnTo>
                  <a:pt x="1512" y="1933"/>
                </a:lnTo>
                <a:lnTo>
                  <a:pt x="1532" y="1921"/>
                </a:lnTo>
                <a:lnTo>
                  <a:pt x="1552" y="1910"/>
                </a:lnTo>
                <a:lnTo>
                  <a:pt x="1572" y="1899"/>
                </a:lnTo>
                <a:lnTo>
                  <a:pt x="1593" y="1886"/>
                </a:lnTo>
                <a:lnTo>
                  <a:pt x="1612" y="1873"/>
                </a:lnTo>
                <a:lnTo>
                  <a:pt x="1631" y="1859"/>
                </a:lnTo>
                <a:lnTo>
                  <a:pt x="1650" y="1846"/>
                </a:lnTo>
                <a:lnTo>
                  <a:pt x="1668" y="1832"/>
                </a:lnTo>
                <a:lnTo>
                  <a:pt x="1686" y="1818"/>
                </a:lnTo>
                <a:lnTo>
                  <a:pt x="1704" y="1802"/>
                </a:lnTo>
                <a:lnTo>
                  <a:pt x="1721" y="1787"/>
                </a:lnTo>
                <a:lnTo>
                  <a:pt x="1739" y="1772"/>
                </a:lnTo>
                <a:lnTo>
                  <a:pt x="1755" y="1755"/>
                </a:lnTo>
                <a:lnTo>
                  <a:pt x="1772" y="1738"/>
                </a:lnTo>
                <a:lnTo>
                  <a:pt x="1787" y="1721"/>
                </a:lnTo>
                <a:lnTo>
                  <a:pt x="1803" y="1704"/>
                </a:lnTo>
                <a:lnTo>
                  <a:pt x="1818" y="1686"/>
                </a:lnTo>
                <a:lnTo>
                  <a:pt x="1832" y="1668"/>
                </a:lnTo>
                <a:lnTo>
                  <a:pt x="1846" y="1650"/>
                </a:lnTo>
                <a:lnTo>
                  <a:pt x="1861" y="1631"/>
                </a:lnTo>
                <a:lnTo>
                  <a:pt x="1873" y="1612"/>
                </a:lnTo>
                <a:lnTo>
                  <a:pt x="1886" y="1593"/>
                </a:lnTo>
                <a:lnTo>
                  <a:pt x="1899" y="1572"/>
                </a:lnTo>
                <a:lnTo>
                  <a:pt x="1910" y="1552"/>
                </a:lnTo>
                <a:lnTo>
                  <a:pt x="1922" y="1532"/>
                </a:lnTo>
                <a:lnTo>
                  <a:pt x="1933" y="1512"/>
                </a:lnTo>
                <a:lnTo>
                  <a:pt x="1944" y="1490"/>
                </a:lnTo>
                <a:lnTo>
                  <a:pt x="1953" y="1469"/>
                </a:lnTo>
                <a:lnTo>
                  <a:pt x="1963" y="1447"/>
                </a:lnTo>
                <a:lnTo>
                  <a:pt x="1972" y="1425"/>
                </a:lnTo>
                <a:lnTo>
                  <a:pt x="1980" y="1404"/>
                </a:lnTo>
                <a:lnTo>
                  <a:pt x="1988" y="1381"/>
                </a:lnTo>
                <a:lnTo>
                  <a:pt x="1996" y="1358"/>
                </a:lnTo>
                <a:lnTo>
                  <a:pt x="2002" y="1336"/>
                </a:lnTo>
                <a:lnTo>
                  <a:pt x="2008" y="1312"/>
                </a:lnTo>
                <a:lnTo>
                  <a:pt x="2014" y="1289"/>
                </a:lnTo>
                <a:lnTo>
                  <a:pt x="2019" y="1266"/>
                </a:lnTo>
                <a:lnTo>
                  <a:pt x="2024" y="1241"/>
                </a:lnTo>
                <a:lnTo>
                  <a:pt x="2028" y="1218"/>
                </a:lnTo>
                <a:lnTo>
                  <a:pt x="2032" y="1194"/>
                </a:lnTo>
                <a:lnTo>
                  <a:pt x="2034" y="1169"/>
                </a:lnTo>
                <a:lnTo>
                  <a:pt x="2036" y="1146"/>
                </a:lnTo>
                <a:lnTo>
                  <a:pt x="2037" y="1121"/>
                </a:lnTo>
                <a:lnTo>
                  <a:pt x="2038" y="1096"/>
                </a:lnTo>
                <a:lnTo>
                  <a:pt x="2038" y="1070"/>
                </a:lnTo>
                <a:lnTo>
                  <a:pt x="2038" y="1046"/>
                </a:lnTo>
                <a:lnTo>
                  <a:pt x="2037" y="1021"/>
                </a:lnTo>
                <a:lnTo>
                  <a:pt x="2036" y="996"/>
                </a:lnTo>
                <a:lnTo>
                  <a:pt x="2034" y="972"/>
                </a:lnTo>
                <a:lnTo>
                  <a:pt x="2032" y="948"/>
                </a:lnTo>
                <a:lnTo>
                  <a:pt x="2028" y="924"/>
                </a:lnTo>
                <a:lnTo>
                  <a:pt x="2024" y="899"/>
                </a:lnTo>
                <a:lnTo>
                  <a:pt x="2019" y="876"/>
                </a:lnTo>
                <a:lnTo>
                  <a:pt x="2014" y="853"/>
                </a:lnTo>
                <a:lnTo>
                  <a:pt x="2008" y="829"/>
                </a:lnTo>
                <a:lnTo>
                  <a:pt x="2002" y="806"/>
                </a:lnTo>
                <a:lnTo>
                  <a:pt x="1996" y="783"/>
                </a:lnTo>
                <a:lnTo>
                  <a:pt x="1988" y="761"/>
                </a:lnTo>
                <a:lnTo>
                  <a:pt x="1980" y="738"/>
                </a:lnTo>
                <a:lnTo>
                  <a:pt x="1972" y="716"/>
                </a:lnTo>
                <a:lnTo>
                  <a:pt x="1963" y="694"/>
                </a:lnTo>
                <a:lnTo>
                  <a:pt x="1953" y="673"/>
                </a:lnTo>
                <a:lnTo>
                  <a:pt x="1944" y="652"/>
                </a:lnTo>
                <a:lnTo>
                  <a:pt x="1933" y="630"/>
                </a:lnTo>
                <a:lnTo>
                  <a:pt x="1922" y="610"/>
                </a:lnTo>
                <a:lnTo>
                  <a:pt x="1910" y="590"/>
                </a:lnTo>
                <a:lnTo>
                  <a:pt x="1899" y="569"/>
                </a:lnTo>
                <a:lnTo>
                  <a:pt x="1886" y="549"/>
                </a:lnTo>
                <a:lnTo>
                  <a:pt x="1873" y="530"/>
                </a:lnTo>
                <a:lnTo>
                  <a:pt x="1861" y="511"/>
                </a:lnTo>
                <a:lnTo>
                  <a:pt x="1846" y="492"/>
                </a:lnTo>
                <a:lnTo>
                  <a:pt x="1832" y="474"/>
                </a:lnTo>
                <a:lnTo>
                  <a:pt x="1818" y="456"/>
                </a:lnTo>
                <a:lnTo>
                  <a:pt x="1803" y="438"/>
                </a:lnTo>
                <a:lnTo>
                  <a:pt x="1787" y="421"/>
                </a:lnTo>
                <a:lnTo>
                  <a:pt x="1772" y="403"/>
                </a:lnTo>
                <a:lnTo>
                  <a:pt x="1755" y="387"/>
                </a:lnTo>
                <a:lnTo>
                  <a:pt x="1739" y="370"/>
                </a:lnTo>
                <a:lnTo>
                  <a:pt x="1721" y="354"/>
                </a:lnTo>
                <a:lnTo>
                  <a:pt x="1704" y="340"/>
                </a:lnTo>
                <a:lnTo>
                  <a:pt x="1686" y="324"/>
                </a:lnTo>
                <a:lnTo>
                  <a:pt x="1668" y="309"/>
                </a:lnTo>
                <a:lnTo>
                  <a:pt x="1650" y="296"/>
                </a:lnTo>
                <a:lnTo>
                  <a:pt x="1631" y="281"/>
                </a:lnTo>
                <a:lnTo>
                  <a:pt x="1612" y="269"/>
                </a:lnTo>
                <a:lnTo>
                  <a:pt x="1593" y="255"/>
                </a:lnTo>
                <a:lnTo>
                  <a:pt x="1572" y="243"/>
                </a:lnTo>
                <a:lnTo>
                  <a:pt x="1552" y="232"/>
                </a:lnTo>
                <a:lnTo>
                  <a:pt x="1532" y="219"/>
                </a:lnTo>
                <a:lnTo>
                  <a:pt x="1512" y="209"/>
                </a:lnTo>
                <a:lnTo>
                  <a:pt x="1490" y="198"/>
                </a:lnTo>
                <a:lnTo>
                  <a:pt x="1469" y="189"/>
                </a:lnTo>
                <a:lnTo>
                  <a:pt x="1448" y="179"/>
                </a:lnTo>
                <a:lnTo>
                  <a:pt x="1426" y="170"/>
                </a:lnTo>
                <a:lnTo>
                  <a:pt x="1404" y="162"/>
                </a:lnTo>
                <a:lnTo>
                  <a:pt x="1381" y="154"/>
                </a:lnTo>
                <a:lnTo>
                  <a:pt x="1359" y="146"/>
                </a:lnTo>
                <a:lnTo>
                  <a:pt x="1336" y="139"/>
                </a:lnTo>
                <a:lnTo>
                  <a:pt x="1313" y="134"/>
                </a:lnTo>
                <a:lnTo>
                  <a:pt x="1290" y="128"/>
                </a:lnTo>
                <a:lnTo>
                  <a:pt x="1266" y="122"/>
                </a:lnTo>
                <a:lnTo>
                  <a:pt x="1243" y="118"/>
                </a:lnTo>
                <a:lnTo>
                  <a:pt x="1218" y="113"/>
                </a:lnTo>
                <a:lnTo>
                  <a:pt x="1194" y="110"/>
                </a:lnTo>
                <a:lnTo>
                  <a:pt x="1170" y="108"/>
                </a:lnTo>
                <a:lnTo>
                  <a:pt x="1146" y="106"/>
                </a:lnTo>
                <a:lnTo>
                  <a:pt x="1121" y="104"/>
                </a:lnTo>
                <a:lnTo>
                  <a:pt x="1096" y="103"/>
                </a:lnTo>
                <a:lnTo>
                  <a:pt x="1072" y="10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3B42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4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633" y="0"/>
            <a:ext cx="6096000" cy="6858000"/>
          </a:xfrm>
        </p:spPr>
        <p:txBody>
          <a:bodyPr/>
          <a:lstStyle/>
          <a:p>
            <a:r>
              <a:rPr lang="en-US"/>
              <a:t>Project overview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398836" y="1628775"/>
            <a:ext cx="5254845" cy="460707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/>
              <a:t>We chose to build a dashboard with multiple charts that update from the same data source</a:t>
            </a:r>
          </a:p>
          <a:p>
            <a:r>
              <a:rPr lang="en-US" sz="1800"/>
              <a:t>A New York City Police Department (NYPD) dataset listing all shooting incidents in the city was used for all visuals presented</a:t>
            </a:r>
          </a:p>
          <a:p>
            <a:r>
              <a:rPr lang="en-US" sz="1800"/>
              <a:t>A custom landing page was built with HTML and CSS to visualize the results</a:t>
            </a:r>
          </a:p>
          <a:p>
            <a:endParaRPr lang="en-GB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8A6184-CF0D-4550-A92A-9C992BED326C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ooter Placeholder 3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</p:spTree>
    <p:extLst>
      <p:ext uri="{BB962C8B-B14F-4D97-AF65-F5344CB8AC3E}">
        <p14:creationId xmlns:p14="http://schemas.microsoft.com/office/powerpoint/2010/main" val="252336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Placeholder 60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1"/>
            <a:ext cx="12192000" cy="6857238"/>
          </a:xfr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51F38FB9-74FF-407E-B2B0-634E4B9885A4}"/>
              </a:ext>
            </a:extLst>
          </p:cNvPr>
          <p:cNvSpPr>
            <a:spLocks noChangeAspect="1"/>
          </p:cNvSpPr>
          <p:nvPr/>
        </p:nvSpPr>
        <p:spPr>
          <a:xfrm>
            <a:off x="8624138" y="13777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emographics for</a:t>
            </a:r>
            <a:b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perpetrator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0ED1695-3677-449B-BFC3-8111AAD1276D}"/>
              </a:ext>
            </a:extLst>
          </p:cNvPr>
          <p:cNvSpPr>
            <a:spLocks noChangeAspect="1"/>
          </p:cNvSpPr>
          <p:nvPr/>
        </p:nvSpPr>
        <p:spPr>
          <a:xfrm>
            <a:off x="3066344" y="666046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~</a:t>
            </a: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22,0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shooting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incid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914003-1716-48E9-947C-7C162CB3F876}"/>
              </a:ext>
            </a:extLst>
          </p:cNvPr>
          <p:cNvSpPr>
            <a:spLocks noChangeAspect="1"/>
          </p:cNvSpPr>
          <p:nvPr/>
        </p:nvSpPr>
        <p:spPr>
          <a:xfrm>
            <a:off x="2092198" y="3635499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14 years of dat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324730-BE70-4439-B106-8A7476087C5C}"/>
              </a:ext>
            </a:extLst>
          </p:cNvPr>
          <p:cNvSpPr>
            <a:spLocks noChangeAspect="1"/>
          </p:cNvSpPr>
          <p:nvPr/>
        </p:nvSpPr>
        <p:spPr>
          <a:xfrm>
            <a:off x="4438960" y="3861260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All five boroughs</a:t>
            </a:r>
            <a:b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</a:br>
            <a:r>
              <a:rPr lang="en-US" sz="1400" noProof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include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B183373-DD19-45F6-940B-C3A95D852E4F}"/>
              </a:ext>
            </a:extLst>
          </p:cNvPr>
          <p:cNvSpPr>
            <a:spLocks noChangeAspect="1"/>
          </p:cNvSpPr>
          <p:nvPr/>
        </p:nvSpPr>
        <p:spPr>
          <a:xfrm>
            <a:off x="7607200" y="357381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ordinates for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ach inciden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corded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D210B9D-3B80-4DBC-9F13-3BCEF8FB4D40}"/>
              </a:ext>
            </a:extLst>
          </p:cNvPr>
          <p:cNvSpPr>
            <a:spLocks noChangeAspect="1"/>
          </p:cNvSpPr>
          <p:nvPr/>
        </p:nvSpPr>
        <p:spPr>
          <a:xfrm>
            <a:off x="10056750" y="3357067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altLang="zh-CN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fered in json</a:t>
            </a:r>
            <a:endParaRPr lang="en-US" sz="140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01AE6A9-D232-4B29-B1DD-8311AC93795E}"/>
              </a:ext>
            </a:extLst>
          </p:cNvPr>
          <p:cNvCxnSpPr/>
          <p:nvPr/>
        </p:nvCxnSpPr>
        <p:spPr>
          <a:xfrm>
            <a:off x="3786444" y="209764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9CF29F6-3800-4277-AF21-C871FE8C6363}"/>
              </a:ext>
            </a:extLst>
          </p:cNvPr>
          <p:cNvCxnSpPr>
            <a:stCxn id="13" idx="4"/>
          </p:cNvCxnSpPr>
          <p:nvPr/>
        </p:nvCxnSpPr>
        <p:spPr>
          <a:xfrm flipH="1">
            <a:off x="9335440" y="2817746"/>
            <a:ext cx="8698" cy="1043314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3E3C680-E44C-45F3-A218-BD5066CECBAE}"/>
              </a:ext>
            </a:extLst>
          </p:cNvPr>
          <p:cNvCxnSpPr/>
          <p:nvPr/>
        </p:nvCxnSpPr>
        <p:spPr>
          <a:xfrm>
            <a:off x="10769316" y="4797190"/>
            <a:ext cx="0" cy="100814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30E99F8-AA0C-4706-86DF-C6FFCFD8CBD0}"/>
              </a:ext>
            </a:extLst>
          </p:cNvPr>
          <p:cNvCxnSpPr/>
          <p:nvPr/>
        </p:nvCxnSpPr>
        <p:spPr>
          <a:xfrm>
            <a:off x="8327500" y="5013220"/>
            <a:ext cx="0" cy="7201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21BA179-6828-4A43-B489-0222D66E77D3}"/>
              </a:ext>
            </a:extLst>
          </p:cNvPr>
          <p:cNvCxnSpPr/>
          <p:nvPr/>
        </p:nvCxnSpPr>
        <p:spPr>
          <a:xfrm>
            <a:off x="2812298" y="5091043"/>
            <a:ext cx="0" cy="43206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EE87DA1-AF0D-4BD9-8535-69435B783A61}"/>
              </a:ext>
            </a:extLst>
          </p:cNvPr>
          <p:cNvCxnSpPr>
            <a:stCxn id="17" idx="4"/>
          </p:cNvCxnSpPr>
          <p:nvPr/>
        </p:nvCxnSpPr>
        <p:spPr>
          <a:xfrm>
            <a:off x="5158960" y="5301260"/>
            <a:ext cx="0" cy="57608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EEF02E-FD33-4E48-805F-B4CCD493A47E}" type="datetime3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 April 202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4FC64F-66B6-486E-8EFE-9FD96A66D16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806E47D-DFE5-49AE-AFA2-89D4A9A91D99}"/>
              </a:ext>
            </a:extLst>
          </p:cNvPr>
          <p:cNvCxnSpPr/>
          <p:nvPr/>
        </p:nvCxnSpPr>
        <p:spPr>
          <a:xfrm>
            <a:off x="6700437" y="3262896"/>
            <a:ext cx="0" cy="1440200"/>
          </a:xfrm>
          <a:prstGeom prst="straightConnector1">
            <a:avLst/>
          </a:prstGeom>
          <a:ln w="3175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FCDF7A3-9031-4FE8-A550-F7BD43BCE34C}"/>
              </a:ext>
            </a:extLst>
          </p:cNvPr>
          <p:cNvSpPr>
            <a:spLocks noChangeAspect="1"/>
          </p:cNvSpPr>
          <p:nvPr/>
        </p:nvSpPr>
        <p:spPr>
          <a:xfrm>
            <a:off x="5980437" y="1782151"/>
            <a:ext cx="1440000" cy="1440000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ata refreshed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rom quarterly 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anual extract</a:t>
            </a:r>
            <a:b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US" sz="1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y NYP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06A9AA-92E6-F34D-B622-0C0DF9507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</a:rPr>
              <a:t>Dataset</a:t>
            </a:r>
          </a:p>
        </p:txBody>
      </p:sp>
    </p:spTree>
    <p:extLst>
      <p:ext uri="{BB962C8B-B14F-4D97-AF65-F5344CB8AC3E}">
        <p14:creationId xmlns:p14="http://schemas.microsoft.com/office/powerpoint/2010/main" val="15184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  <p:bldP spid="18" grpId="0" animBg="1"/>
      <p:bldP spid="19" grpId="0" animBg="1"/>
      <p:bldP spid="3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Confidential  |  © KONE Corporation</a:t>
            </a:r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d JSON data from UR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13" y="3724039"/>
            <a:ext cx="6962775" cy="1724025"/>
          </a:xfrm>
          <a:prstGeom prst="rect">
            <a:avLst/>
          </a:prstGeom>
        </p:spPr>
      </p:pic>
      <p:pic>
        <p:nvPicPr>
          <p:cNvPr id="10" name="Content Placeholder 9"/>
          <p:cNvPicPr>
            <a:picLocks noGrp="1" noChangeAspect="1"/>
          </p:cNvPicPr>
          <p:nvPr>
            <p:ph sz="quarter" idx="13"/>
          </p:nvPr>
        </p:nvPicPr>
        <p:blipFill>
          <a:blip r:embed="rId4"/>
          <a:stretch>
            <a:fillRect/>
          </a:stretch>
        </p:blipFill>
        <p:spPr>
          <a:xfrm>
            <a:off x="696913" y="1549738"/>
            <a:ext cx="6429375" cy="1466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81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Confidential  |  © KONE Corporation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6</a:t>
            </a:fld>
            <a:endParaRPr lang="en-US" noProof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2112802" y="1628775"/>
            <a:ext cx="6958333" cy="4608513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set Attribu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89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38452E-B384-8448-8026-67DFA9BA9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2C9755-92CE-2441-98DE-C70F84E2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57E8FF-47E0-9B46-9C7D-EF8C87974A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ap with layers as overlays for the following:</a:t>
            </a:r>
          </a:p>
          <a:p>
            <a:pPr lvl="1"/>
            <a:r>
              <a:rPr lang="en-US" dirty="0"/>
              <a:t>outline of boroughs</a:t>
            </a:r>
          </a:p>
          <a:p>
            <a:pPr lvl="2"/>
            <a:r>
              <a:rPr lang="en-US" dirty="0" err="1"/>
              <a:t>nyc.geojson</a:t>
            </a:r>
            <a:r>
              <a:rPr lang="en-US" dirty="0"/>
              <a:t> dataset</a:t>
            </a:r>
          </a:p>
          <a:p>
            <a:pPr lvl="1"/>
            <a:r>
              <a:rPr lang="en-US" dirty="0"/>
              <a:t>markers for each shooting incident color-coded per borough</a:t>
            </a:r>
          </a:p>
          <a:p>
            <a:pPr lvl="1"/>
            <a:r>
              <a:rPr lang="en-US" dirty="0"/>
              <a:t>heatmap</a:t>
            </a:r>
          </a:p>
          <a:p>
            <a:r>
              <a:rPr lang="en-US" dirty="0"/>
              <a:t>Markers</a:t>
            </a:r>
          </a:p>
          <a:p>
            <a:pPr lvl="1"/>
            <a:r>
              <a:rPr lang="en-US" dirty="0"/>
              <a:t>used </a:t>
            </a:r>
            <a:r>
              <a:rPr lang="en-US"/>
              <a:t>the Extra-Markers </a:t>
            </a:r>
            <a:r>
              <a:rPr lang="en-US" dirty="0"/>
              <a:t>plugin and d3 to assign marker color based on borough</a:t>
            </a:r>
          </a:p>
          <a:p>
            <a:pPr lvl="1"/>
            <a:r>
              <a:rPr lang="en-US" dirty="0"/>
              <a:t>popup contains a scrollable list of info about each incident</a:t>
            </a:r>
          </a:p>
          <a:p>
            <a:r>
              <a:rPr lang="en-US" dirty="0"/>
              <a:t>Heatmap</a:t>
            </a:r>
          </a:p>
          <a:p>
            <a:pPr lvl="1"/>
            <a:r>
              <a:rPr lang="en-US" dirty="0"/>
              <a:t>used leaflet-heat plugi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Placeholder 10" descr="Text&#10;&#10;Description automatically generated">
            <a:extLst>
              <a:ext uri="{FF2B5EF4-FFF2-40B4-BE49-F238E27FC236}">
                <a16:creationId xmlns:a16="http://schemas.microsoft.com/office/drawing/2014/main" id="{44E9846F-F68C-B249-B8C6-E8523554EA4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DE967F0-7326-0646-A114-4662BDBAC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flet Map with Markers and Heatmap</a:t>
            </a:r>
          </a:p>
        </p:txBody>
      </p:sp>
    </p:spTree>
    <p:extLst>
      <p:ext uri="{BB962C8B-B14F-4D97-AF65-F5344CB8AC3E}">
        <p14:creationId xmlns:p14="http://schemas.microsoft.com/office/powerpoint/2010/main" val="367429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962723-BAE0-D242-8BDE-6887615939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d d3 promise to call upon and parse </a:t>
            </a:r>
            <a:r>
              <a:rPr lang="en-US" dirty="0" err="1"/>
              <a:t>json</a:t>
            </a:r>
            <a:r>
              <a:rPr lang="en-US" dirty="0"/>
              <a:t> data</a:t>
            </a:r>
          </a:p>
          <a:p>
            <a:r>
              <a:rPr lang="en-US" dirty="0"/>
              <a:t>Ran "</a:t>
            </a:r>
            <a:r>
              <a:rPr lang="en-US" dirty="0" err="1"/>
              <a:t>forEach</a:t>
            </a:r>
            <a:r>
              <a:rPr lang="en-US" dirty="0"/>
              <a:t>" function and pulled variables of interest from each object (corresponding to 1 shooting incident) and pushed to separate arrays</a:t>
            </a:r>
          </a:p>
          <a:p>
            <a:r>
              <a:rPr lang="en-US" dirty="0"/>
              <a:t>Used ".length" function on each array to accumulate counts of each attribute for all shooting incidents</a:t>
            </a:r>
          </a:p>
          <a:p>
            <a:r>
              <a:rPr lang="en-US" dirty="0"/>
              <a:t>Utilized </a:t>
            </a:r>
            <a:r>
              <a:rPr lang="en-US" dirty="0" err="1"/>
              <a:t>Plotly</a:t>
            </a:r>
            <a:r>
              <a:rPr lang="en-US" dirty="0"/>
              <a:t> to plot each attribute and its frequency</a:t>
            </a:r>
          </a:p>
          <a:p>
            <a:endParaRPr lang="en-US" dirty="0"/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CC514CF-32C9-A645-B346-279990149B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1" r="3451"/>
          <a:stretch/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A1522B-340F-F744-BD81-771AC4C8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5524-0EDA-4F27-BBAC-4EB2D9F2601C}" type="datetime3">
              <a:rPr lang="en-US" noProof="0" smtClean="0"/>
              <a:t>27 April 2021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B7236-51DE-D84A-A992-7BB55E19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41E09E-9126-AF42-A1AA-7B8DD54D2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d a custom website that allows </a:t>
            </a:r>
          </a:p>
        </p:txBody>
      </p:sp>
      <p:pic>
        <p:nvPicPr>
          <p:cNvPr id="10" name="Picture Placeholder 9" descr="Text&#10;&#10;Description automatically generated">
            <a:extLst>
              <a:ext uri="{FF2B5EF4-FFF2-40B4-BE49-F238E27FC236}">
                <a16:creationId xmlns:a16="http://schemas.microsoft.com/office/drawing/2014/main" id="{97EE9426-8A1C-8D49-B8F2-58ADAC44AB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" r="310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0768F6B-2FA5-1A47-8CFA-B696B260F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TML/CSS</a:t>
            </a:r>
          </a:p>
        </p:txBody>
      </p:sp>
    </p:spTree>
    <p:extLst>
      <p:ext uri="{BB962C8B-B14F-4D97-AF65-F5344CB8AC3E}">
        <p14:creationId xmlns:p14="http://schemas.microsoft.com/office/powerpoint/2010/main" val="216692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YViROcS9yHDFS_BgGrMg"/>
</p:tagLst>
</file>

<file path=ppt/theme/theme1.xml><?xml version="1.0" encoding="utf-8"?>
<a:theme xmlns:a="http://schemas.openxmlformats.org/drawingml/2006/main" name="KONE NEB templat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NEB_Presentation_template_2020" id="{C9EC1BD6-8BC6-F145-90EE-739C0BE11934}" vid="{40FAF6A2-4234-274D-9550-F72B03E3F0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ONE corporation 220416">
    <a:dk1>
      <a:srgbClr val="3B4245"/>
    </a:dk1>
    <a:lt1>
      <a:srgbClr val="FFFFFF"/>
    </a:lt1>
    <a:dk2>
      <a:srgbClr val="0071B9"/>
    </a:dk2>
    <a:lt2>
      <a:srgbClr val="8D9194"/>
    </a:lt2>
    <a:accent1>
      <a:srgbClr val="004987"/>
    </a:accent1>
    <a:accent2>
      <a:srgbClr val="58AB27"/>
    </a:accent2>
    <a:accent3>
      <a:srgbClr val="86C2E6"/>
    </a:accent3>
    <a:accent4>
      <a:srgbClr val="FFC627"/>
    </a:accent4>
    <a:accent5>
      <a:srgbClr val="C6D600"/>
    </a:accent5>
    <a:accent6>
      <a:srgbClr val="E51A92"/>
    </a:accent6>
    <a:hlink>
      <a:srgbClr val="0071B9"/>
    </a:hlink>
    <a:folHlink>
      <a:srgbClr val="00498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EC82C5D9A730429577CE960905EC24" ma:contentTypeVersion="12" ma:contentTypeDescription="Create a new document." ma:contentTypeScope="" ma:versionID="8571dc7dc6f978f8e9c792f2a2de81ab">
  <xsd:schema xmlns:xsd="http://www.w3.org/2001/XMLSchema" xmlns:xs="http://www.w3.org/2001/XMLSchema" xmlns:p="http://schemas.microsoft.com/office/2006/metadata/properties" xmlns:ns3="0dbc8c86-ea1e-4fcb-8b55-0e3ee4a951fc" xmlns:ns4="ffcc8873-6a0d-4d18-9b29-3b4689ea4f89" targetNamespace="http://schemas.microsoft.com/office/2006/metadata/properties" ma:root="true" ma:fieldsID="ac2545a581525c367172bf43eba2dd15" ns3:_="" ns4:_="">
    <xsd:import namespace="0dbc8c86-ea1e-4fcb-8b55-0e3ee4a951fc"/>
    <xsd:import namespace="ffcc8873-6a0d-4d18-9b29-3b4689ea4f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bc8c86-ea1e-4fcb-8b55-0e3ee4a951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c8873-6a0d-4d18-9b29-3b4689ea4f8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5C8DC04-9810-4A44-9F27-D2B4D7A11B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87AF4DA-DD81-4A06-A1AC-C10F7A064C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bc8c86-ea1e-4fcb-8b55-0e3ee4a951fc"/>
    <ds:schemaRef ds:uri="ffcc8873-6a0d-4d18-9b29-3b4689ea4f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BA744B7-BE01-42EE-8B02-D03936BD1D3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dbc8c86-ea1e-4fcb-8b55-0e3ee4a951fc"/>
    <ds:schemaRef ds:uri="ffcc8873-6a0d-4d18-9b29-3b4689ea4f89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5</TotalTime>
  <Words>332</Words>
  <Application>Microsoft Office PowerPoint</Application>
  <PresentationFormat>Widescreen</PresentationFormat>
  <Paragraphs>79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Wingdings</vt:lpstr>
      <vt:lpstr>KONE NEB template</vt:lpstr>
      <vt:lpstr>think-cell Slide</vt:lpstr>
      <vt:lpstr>Interactive Visualization Project NYPD Shooting Incident Data</vt:lpstr>
      <vt:lpstr>Index</vt:lpstr>
      <vt:lpstr>Project overview</vt:lpstr>
      <vt:lpstr>Dataset</vt:lpstr>
      <vt:lpstr>Read JSON data from URL</vt:lpstr>
      <vt:lpstr>Dataset Attributes</vt:lpstr>
      <vt:lpstr>Leaflet Map with Markers and Heatmap</vt:lpstr>
      <vt:lpstr>Plotly</vt:lpstr>
      <vt:lpstr>HTML/CS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NEB template</dc:title>
  <dc:creator>Timo Utterström</dc:creator>
  <cp:lastModifiedBy>Bang, Gabriel</cp:lastModifiedBy>
  <cp:revision>77</cp:revision>
  <cp:lastPrinted>2019-09-10T07:17:50Z</cp:lastPrinted>
  <dcterms:created xsi:type="dcterms:W3CDTF">2020-02-13T05:42:01Z</dcterms:created>
  <dcterms:modified xsi:type="dcterms:W3CDTF">2021-04-28T01:2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EC82C5D9A730429577CE960905EC24</vt:lpwstr>
  </property>
</Properties>
</file>